
<file path=[Content_Types].xml><?xml version="1.0" encoding="utf-8"?>
<Types xmlns="http://schemas.openxmlformats.org/package/2006/content-types">
  <Default Extension="jpeg" ContentType="image/jpeg"/>
  <Default Extension="mp4" ContentType="video/mp4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notesSlides/notesSlide1.xml" ContentType="application/vnd.openxmlformats-officedocument.presentationml.notesSl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5"/>
  </p:notesMasterIdLst>
  <p:sldIdLst>
    <p:sldId id="465" r:id="rId2"/>
    <p:sldId id="485" r:id="rId3"/>
    <p:sldId id="474" r:id="rId4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3366"/>
    <a:srgbClr val="836997"/>
    <a:srgbClr val="003399"/>
    <a:srgbClr val="EEE800"/>
    <a:srgbClr val="D6D100"/>
    <a:srgbClr val="800080"/>
    <a:srgbClr val="C0BC00"/>
    <a:srgbClr val="CC9900"/>
    <a:srgbClr val="00006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6969" autoAdjust="0"/>
    <p:restoredTop sz="95256" autoAdjust="0"/>
  </p:normalViewPr>
  <p:slideViewPr>
    <p:cSldViewPr snapToGrid="0">
      <p:cViewPr>
        <p:scale>
          <a:sx n="66" d="100"/>
          <a:sy n="66" d="100"/>
        </p:scale>
        <p:origin x="557" y="451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tableStyles" Target="tableStyle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9603ACE-7895-406D-BD58-43EBCA3F72A3}" type="datetimeFigureOut">
              <a:rPr lang="fr-FR" smtClean="0"/>
              <a:t>04/08/2020</a:t>
            </a:fld>
            <a:endParaRPr lang="fr-FR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FR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4EB73F4-DFA2-4502-8B9E-E3CE29BF906F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94708854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This template was inserted from Power-user, the productivity add-in for PowerPoint, Excel and Word.</a:t>
            </a:r>
          </a:p>
          <a:p>
            <a:r>
              <a:rPr lang="en-US"/>
              <a:t>Get thousands of templates, icons, maps, diagrams and charts with Power-user. Visit https://www.powerusersoftwares.com/!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A55CF2-256D-44FD-9430-5B63A079CF51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0541865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This template was inserted from Power-user, the productivity add-in for PowerPoint, Excel and Word.</a:t>
            </a:r>
          </a:p>
          <a:p>
            <a:r>
              <a:rPr lang="en-US"/>
              <a:t>Get thousands of templates, icons, maps, diagrams and charts with Power-user. Visit https://www.powerusersoftwares.com/!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A55CF2-256D-44FD-9430-5B63A079CF51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7314871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24B7F5D-4499-4FE1-A4BE-F11FB95C738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fr-FR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2C2E85C-1995-4624-AC1F-F16CEA683B3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fr-FR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8AB4B3D-C880-49E5-9713-DD6A651AAD9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5F1C48-6508-433F-804B-7F41A0DD3946}" type="datetimeFigureOut">
              <a:rPr lang="fr-FR" smtClean="0"/>
              <a:t>04/08/2020</a:t>
            </a:fld>
            <a:endParaRPr lang="fr-FR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3F67B26-626D-4B40-A5EA-8B4BEBE83EF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968B86B-8DC8-4E1F-97F2-B88784A8D9E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08F31F-FFF5-4DC6-A7A5-45E4520B3248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20096340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373951A-EE8A-4D5F-8B52-3A234D2B688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r-FR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992EBADB-7FE0-493B-A4D3-C06250706FA7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C529694-670D-46EF-99CA-EAC3CFDA64C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5F1C48-6508-433F-804B-7F41A0DD3946}" type="datetimeFigureOut">
              <a:rPr lang="fr-FR" smtClean="0"/>
              <a:t>04/08/2020</a:t>
            </a:fld>
            <a:endParaRPr lang="fr-FR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05D5EA6-E963-4E97-8C4F-0933D86AFCC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85A7A0D-6874-4D66-A621-32B403013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08F31F-FFF5-4DC6-A7A5-45E4520B3248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17441618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DDA592B6-CEC0-4F19-8307-A7544EEAE906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fr-FR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22C54389-2444-4A48-9DD3-8588BD59CFD4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DF9B89E-A9BD-43FC-A25B-FD8C323C970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5F1C48-6508-433F-804B-7F41A0DD3946}" type="datetimeFigureOut">
              <a:rPr lang="fr-FR" smtClean="0"/>
              <a:t>04/08/2020</a:t>
            </a:fld>
            <a:endParaRPr lang="fr-FR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CBF23A4-EB29-4B0B-B835-9439525EF94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7E3FC3B-ED2E-4B63-AD4C-C7B0A80DC05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08F31F-FFF5-4DC6-A7A5-45E4520B3248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21346368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800381C-760A-45B8-89A0-E3BFC14DD4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r-FR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E6F7C48-C954-4C80-9CA8-68A447E0D8A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FD07224-6E1A-44DB-A7AB-452C4BADC0B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5F1C48-6508-433F-804B-7F41A0DD3946}" type="datetimeFigureOut">
              <a:rPr lang="fr-FR" smtClean="0"/>
              <a:t>04/08/2020</a:t>
            </a:fld>
            <a:endParaRPr lang="fr-FR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73E40B2-6306-4861-8F66-69B2C5C29B3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84FF736-6586-45D8-A56E-E6F963EF72D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08F31F-FFF5-4DC6-A7A5-45E4520B3248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70972105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E4B37A7-CBFD-426C-A5BE-D8EDFF5F7A1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fr-FR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A4359C5-72A5-4987-B4F4-3FC6D124B7B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9C11BF1-6260-490D-95E8-360BA7773F1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5F1C48-6508-433F-804B-7F41A0DD3946}" type="datetimeFigureOut">
              <a:rPr lang="fr-FR" smtClean="0"/>
              <a:t>04/08/2020</a:t>
            </a:fld>
            <a:endParaRPr lang="fr-FR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100B2A7-77D0-48BC-AB93-6A4FF616227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C87A495-4B29-47FF-808D-8B9A278D297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08F31F-FFF5-4DC6-A7A5-45E4520B3248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14550814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0EA2280-22F5-4C6F-8924-EB5ACF3A46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r-FR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3715FAE-189D-4A1B-ACFA-3386DF19F57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1870735-68DE-4DA4-BE7C-EFD8CEF9B3D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F70ADB7-4465-4F74-BE0E-037E88F6F58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5F1C48-6508-433F-804B-7F41A0DD3946}" type="datetimeFigureOut">
              <a:rPr lang="fr-FR" smtClean="0"/>
              <a:t>04/08/2020</a:t>
            </a:fld>
            <a:endParaRPr lang="fr-FR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569C301-4F03-41F1-BD00-337A76AA4B9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E05B3A5-2F29-4337-8C86-544DE0D5EE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08F31F-FFF5-4DC6-A7A5-45E4520B3248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17604992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8F8921E-8601-4BDA-8434-65D8576CB1E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fr-FR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45CBC4C-ECFD-479C-9D02-63E50DFDD01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0B34337B-6B94-495B-B8A1-DA1DE1E12BE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18FCFC1-BA3E-44B7-8596-016DE613E5AC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DBE7F489-E1AA-499C-882B-553AD6C8A606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094FD57D-E625-4ED1-91E0-3C2501A1374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5F1C48-6508-433F-804B-7F41A0DD3946}" type="datetimeFigureOut">
              <a:rPr lang="fr-FR" smtClean="0"/>
              <a:t>04/08/2020</a:t>
            </a:fld>
            <a:endParaRPr lang="fr-FR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0983B885-9F7A-475E-A0C8-BA3FDA3BF44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ACDBC5A4-B2ED-43E0-A120-8C6B698FC3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08F31F-FFF5-4DC6-A7A5-45E4520B3248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46006790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3D2519C-369E-4025-A201-F574C7D21EB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r-FR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8C6307B-3A73-4C40-B478-5903C500CA5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5F1C48-6508-433F-804B-7F41A0DD3946}" type="datetimeFigureOut">
              <a:rPr lang="fr-FR" smtClean="0"/>
              <a:t>04/08/2020</a:t>
            </a:fld>
            <a:endParaRPr lang="fr-FR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76A24B6-BEBA-4B04-9912-2C85E6C7CE9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0FDA435-163B-4471-AB22-70A974B60D2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08F31F-FFF5-4DC6-A7A5-45E4520B3248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94050234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9BAF8B26-3DF3-465C-8311-73759EC179D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5F1C48-6508-433F-804B-7F41A0DD3946}" type="datetimeFigureOut">
              <a:rPr lang="fr-FR" smtClean="0"/>
              <a:t>04/08/2020</a:t>
            </a:fld>
            <a:endParaRPr lang="fr-FR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83970CC-320E-42D6-9137-7E38B1AC314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9A3026D-EDD3-4A3E-A000-A2375A97D9A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08F31F-FFF5-4DC6-A7A5-45E4520B3248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2239125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39E4FCC-DCD7-4D3E-843A-123E2BFDAD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fr-FR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0E16581-0166-4CD3-B40C-052F2C5CC78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D46088D-BBCF-4CFB-945E-301B4D9DACB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D60111B9-3A88-445D-AF56-5F9C8B873DE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5F1C48-6508-433F-804B-7F41A0DD3946}" type="datetimeFigureOut">
              <a:rPr lang="fr-FR" smtClean="0"/>
              <a:t>04/08/2020</a:t>
            </a:fld>
            <a:endParaRPr lang="fr-FR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F4FC01F-124E-4B6D-9F55-5EB48CBDF9C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211B609-B1D1-41C1-84A2-BFD079BFE44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08F31F-FFF5-4DC6-A7A5-45E4520B3248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99557317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DEE1758-590E-4FF8-A4F5-844D92C4C5D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fr-FR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F592C203-CA28-4199-BE24-370B672300BC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fr-FR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0A3F1CC-8F57-4A53-9147-D9BB11546BA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A645642-326F-400F-BD07-CD88C083A4A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5F1C48-6508-433F-804B-7F41A0DD3946}" type="datetimeFigureOut">
              <a:rPr lang="fr-FR" smtClean="0"/>
              <a:t>04/08/2020</a:t>
            </a:fld>
            <a:endParaRPr lang="fr-FR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03F3152-28CC-42E6-8A53-39B9041A51F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F285FCA-08F7-417E-A5AE-474FB07D9E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08F31F-FFF5-4DC6-A7A5-45E4520B3248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20137099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B5078598-2A7B-4A1D-ABEE-DA9E4224664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fr-FR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A6EF813-A0AA-4C04-882C-06ACE03D01E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1668065-0641-4836-8E0D-DC83481316C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95F1C48-6508-433F-804B-7F41A0DD3946}" type="datetimeFigureOut">
              <a:rPr lang="fr-FR" smtClean="0"/>
              <a:t>04/08/2020</a:t>
            </a:fld>
            <a:endParaRPr lang="fr-FR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03B8827-B0FF-4CD5-9B15-D14D2B7FB1E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fr-FR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4CDE968-6CE9-4AF7-9420-EEDC05DF520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E08F31F-FFF5-4DC6-A7A5-45E4520B3248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8574711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microsoft.com/office/2007/relationships/media" Target="../media/media1.mp4"/><Relationship Id="rId2" Type="http://schemas.openxmlformats.org/officeDocument/2006/relationships/video" Target="NULL" TargetMode="External"/><Relationship Id="rId1" Type="http://schemas.openxmlformats.org/officeDocument/2006/relationships/tags" Target="../tags/tag1.xml"/><Relationship Id="rId6" Type="http://schemas.openxmlformats.org/officeDocument/2006/relationships/image" Target="../media/image1.png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7" Type="http://schemas.openxmlformats.org/officeDocument/2006/relationships/image" Target="../media/image3.jpeg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image" Target="../media/image2.jpeg"/><Relationship Id="rId5" Type="http://schemas.openxmlformats.org/officeDocument/2006/relationships/notesSlide" Target="../notesSlides/notesSlide2.xml"/><Relationship Id="rId4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8.png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What people think programming is vs. how it actually is">
            <a:hlinkClick r:id="" action="ppaction://media"/>
            <a:extLst>
              <a:ext uri="{FF2B5EF4-FFF2-40B4-BE49-F238E27FC236}">
                <a16:creationId xmlns:a16="http://schemas.microsoft.com/office/drawing/2014/main" id="{DA6572E4-41A0-4180-9D62-12DC7B15A184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3">
                  <p14:trim end="16801.5333"/>
                </p14:media>
              </p:ext>
            </p:extLst>
          </p:nvPr>
        </p:nvPicPr>
        <p:blipFill>
          <a:blip r:embed="rId6"/>
          <a:stretch>
            <a:fillRect/>
          </a:stretch>
        </p:blipFill>
        <p:spPr>
          <a:xfrm>
            <a:off x="0" y="19733"/>
            <a:ext cx="12192000" cy="6838265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50E6D0CC-98EA-4EAB-BF90-865592354EE0}"/>
              </a:ext>
            </a:extLst>
          </p:cNvPr>
          <p:cNvSpPr/>
          <p:nvPr/>
        </p:nvSpPr>
        <p:spPr>
          <a:xfrm rot="16200000">
            <a:off x="-2560214" y="2560212"/>
            <a:ext cx="6858002" cy="1737571"/>
          </a:xfrm>
          <a:prstGeom prst="rect">
            <a:avLst/>
          </a:prstGeom>
          <a:solidFill>
            <a:srgbClr val="44546A">
              <a:alpha val="9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0" tIns="45720" rIns="720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6DAB5DA4-01B5-47BA-AE4F-9C8CB4BABCB5}"/>
              </a:ext>
            </a:extLst>
          </p:cNvPr>
          <p:cNvSpPr/>
          <p:nvPr/>
        </p:nvSpPr>
        <p:spPr>
          <a:xfrm rot="5400000">
            <a:off x="-1544525" y="3520208"/>
            <a:ext cx="5736066" cy="84611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0A2F54D5-0804-4A63-BE98-2FD096652549}"/>
              </a:ext>
            </a:extLst>
          </p:cNvPr>
          <p:cNvSpPr txBox="1"/>
          <p:nvPr/>
        </p:nvSpPr>
        <p:spPr>
          <a:xfrm rot="16200000">
            <a:off x="-1181633" y="3136610"/>
            <a:ext cx="4297100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3200" dirty="0">
                <a:solidFill>
                  <a:schemeClr val="bg1"/>
                </a:solidFill>
                <a:latin typeface="Rockwell Extra Bold" panose="02060903040505020403" pitchFamily="18" charset="0"/>
                <a:ea typeface="Segoe UI Black" panose="020B0A02040204020203" pitchFamily="34" charset="0"/>
              </a:rPr>
              <a:t>EDIBO PROJECT!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DC12EB04-FDFD-4BE2-9D62-2A9E1FE18BAB}"/>
              </a:ext>
            </a:extLst>
          </p:cNvPr>
          <p:cNvSpPr/>
          <p:nvPr/>
        </p:nvSpPr>
        <p:spPr>
          <a:xfrm rot="5400000">
            <a:off x="-639164" y="3503888"/>
            <a:ext cx="4297099" cy="84612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26892827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2711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32927">
                <p:cTn id="7" fill="hold" display="0">
                  <p:stCondLst>
                    <p:cond delay="indefinite"/>
                  </p:stCondLst>
                </p:cTn>
                <p:tgtEl>
                  <p:spTgt spid="2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2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2"/>
                  </p:tgtEl>
                </p:cond>
              </p:nextCondLst>
            </p:seq>
          </p:childTnLst>
        </p:cTn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4" name="Picture 6" descr="100+ Programmer Pictures [HD] | Download Free Images on Unsplash">
            <a:extLst>
              <a:ext uri="{FF2B5EF4-FFF2-40B4-BE49-F238E27FC236}">
                <a16:creationId xmlns:a16="http://schemas.microsoft.com/office/drawing/2014/main" id="{3EF4A11B-185D-4C32-89DA-09C88BD7933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" y="0"/>
            <a:ext cx="12211530" cy="68415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6" name="Picture 2" descr="Index of /wp-content/uploads/2012/02/">
            <a:extLst>
              <a:ext uri="{FF2B5EF4-FFF2-40B4-BE49-F238E27FC236}">
                <a16:creationId xmlns:a16="http://schemas.microsoft.com/office/drawing/2014/main" id="{C4D9F229-7970-4B58-B6E3-166E7482F2C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9070" y="4143736"/>
            <a:ext cx="12211531" cy="27142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Rectangle 10"/>
          <p:cNvSpPr/>
          <p:nvPr/>
        </p:nvSpPr>
        <p:spPr>
          <a:xfrm>
            <a:off x="-9070" y="0"/>
            <a:ext cx="12211530" cy="13081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2469" y="1289705"/>
            <a:ext cx="12189531" cy="2842123"/>
          </a:xfrm>
          <a:prstGeom prst="rect">
            <a:avLst/>
          </a:prstGeom>
          <a:solidFill>
            <a:srgbClr val="000000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Oval 4"/>
          <p:cNvSpPr>
            <a:spLocks noChangeAspect="1"/>
          </p:cNvSpPr>
          <p:nvPr/>
        </p:nvSpPr>
        <p:spPr>
          <a:xfrm>
            <a:off x="576106" y="5081718"/>
            <a:ext cx="123564" cy="123564"/>
          </a:xfrm>
          <a:prstGeom prst="ellipse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Oval 5"/>
          <p:cNvSpPr>
            <a:spLocks noChangeAspect="1"/>
          </p:cNvSpPr>
          <p:nvPr/>
        </p:nvSpPr>
        <p:spPr>
          <a:xfrm>
            <a:off x="4214847" y="5081718"/>
            <a:ext cx="123564" cy="123564"/>
          </a:xfrm>
          <a:prstGeom prst="ellipse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" name="Oval 6"/>
          <p:cNvSpPr>
            <a:spLocks noChangeAspect="1"/>
          </p:cNvSpPr>
          <p:nvPr/>
        </p:nvSpPr>
        <p:spPr>
          <a:xfrm>
            <a:off x="7853588" y="5081718"/>
            <a:ext cx="123564" cy="123564"/>
          </a:xfrm>
          <a:prstGeom prst="ellipse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" name="Oval 7"/>
          <p:cNvSpPr>
            <a:spLocks noChangeAspect="1"/>
          </p:cNvSpPr>
          <p:nvPr/>
        </p:nvSpPr>
        <p:spPr>
          <a:xfrm>
            <a:off x="11492330" y="5081718"/>
            <a:ext cx="123564" cy="123564"/>
          </a:xfrm>
          <a:prstGeom prst="ellipse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cxnSp>
        <p:nvCxnSpPr>
          <p:cNvPr id="10" name="Straight Connector 9"/>
          <p:cNvCxnSpPr>
            <a:cxnSpLocks/>
            <a:stCxn id="5" idx="6"/>
            <a:endCxn id="8" idx="2"/>
          </p:cNvCxnSpPr>
          <p:nvPr/>
        </p:nvCxnSpPr>
        <p:spPr>
          <a:xfrm>
            <a:off x="699670" y="5143500"/>
            <a:ext cx="10792660" cy="0"/>
          </a:xfrm>
          <a:prstGeom prst="line">
            <a:avLst/>
          </a:prstGeom>
          <a:ln w="1905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Oval 26"/>
          <p:cNvSpPr>
            <a:spLocks noChangeAspect="1"/>
          </p:cNvSpPr>
          <p:nvPr/>
        </p:nvSpPr>
        <p:spPr>
          <a:xfrm rot="2284121">
            <a:off x="9478392" y="4686299"/>
            <a:ext cx="914400" cy="914400"/>
          </a:xfrm>
          <a:prstGeom prst="ellipse">
            <a:avLst/>
          </a:prstGeom>
          <a:solidFill>
            <a:schemeClr val="tx1">
              <a:lumMod val="85000"/>
              <a:lumOff val="1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19" name="Oval 18"/>
          <p:cNvSpPr>
            <a:spLocks noChangeAspect="1"/>
          </p:cNvSpPr>
          <p:nvPr/>
        </p:nvSpPr>
        <p:spPr>
          <a:xfrm rot="18859635">
            <a:off x="5638800" y="4686299"/>
            <a:ext cx="914400" cy="914400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81" name="Rectangle 80"/>
          <p:cNvSpPr/>
          <p:nvPr/>
        </p:nvSpPr>
        <p:spPr>
          <a:xfrm>
            <a:off x="-9070" y="4292599"/>
            <a:ext cx="4068000" cy="72000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86" name="TextBox 85"/>
          <p:cNvSpPr txBox="1"/>
          <p:nvPr/>
        </p:nvSpPr>
        <p:spPr>
          <a:xfrm>
            <a:off x="818248" y="5726677"/>
            <a:ext cx="2861724" cy="46166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1" i="0" u="none" strike="noStrike" kern="0" cap="none" spc="0" normalizeH="0" baseline="0" noProof="0" dirty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heory</a:t>
            </a:r>
            <a:endParaRPr kumimoji="0" lang="en-US" sz="2400" b="1" i="0" u="none" strike="noStrike" kern="0" cap="none" spc="0" normalizeH="0" baseline="0" noProof="0" dirty="0">
              <a:ln>
                <a:noFill/>
              </a:ln>
              <a:solidFill>
                <a:schemeClr val="bg1">
                  <a:lumMod val="50000"/>
                </a:scheme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9" name="TextBox 88"/>
          <p:cNvSpPr txBox="1"/>
          <p:nvPr/>
        </p:nvSpPr>
        <p:spPr>
          <a:xfrm>
            <a:off x="4666746" y="5726677"/>
            <a:ext cx="2861724" cy="46166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algn="ctr">
              <a:defRPr>
                <a:solidFill>
                  <a:prstClr val="white"/>
                </a:solidFill>
                <a:latin typeface="Calibri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en-GB" sz="2400" b="1" dirty="0">
                <a:solidFill>
                  <a:srgbClr val="44546A"/>
                </a:solidFill>
              </a:rPr>
              <a:t>Technics</a:t>
            </a:r>
            <a:endParaRPr lang="en-US" b="1" dirty="0">
              <a:solidFill>
                <a:srgbClr val="44546A"/>
              </a:solidFill>
            </a:endParaRPr>
          </a:p>
        </p:txBody>
      </p:sp>
      <p:sp>
        <p:nvSpPr>
          <p:cNvPr id="92" name="TextBox 91"/>
          <p:cNvSpPr txBox="1"/>
          <p:nvPr/>
        </p:nvSpPr>
        <p:spPr>
          <a:xfrm>
            <a:off x="8485061" y="5726677"/>
            <a:ext cx="2861724" cy="46166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1" i="0" u="none" strike="noStrike" kern="0" cap="none" spc="0" normalizeH="0" baseline="0" noProof="0" dirty="0">
                <a:ln>
                  <a:noFill/>
                </a:ln>
                <a:solidFill>
                  <a:schemeClr val="bg2">
                    <a:lumMod val="25000"/>
                  </a:scheme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ractice</a:t>
            </a:r>
            <a:endParaRPr kumimoji="0" lang="en-US" sz="2400" b="1" i="0" u="none" strike="noStrike" kern="0" cap="none" spc="0" normalizeH="0" baseline="0" noProof="0" dirty="0">
              <a:ln>
                <a:noFill/>
              </a:ln>
              <a:solidFill>
                <a:schemeClr val="bg2">
                  <a:lumMod val="25000"/>
                </a:scheme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96" name="Rectangle 95">
            <a:extLst>
              <a:ext uri="{FF2B5EF4-FFF2-40B4-BE49-F238E27FC236}">
                <a16:creationId xmlns:a16="http://schemas.microsoft.com/office/drawing/2014/main" id="{7B76F577-CC75-497F-A4D0-C314C81F1CFB}"/>
              </a:ext>
            </a:extLst>
          </p:cNvPr>
          <p:cNvSpPr/>
          <p:nvPr/>
        </p:nvSpPr>
        <p:spPr>
          <a:xfrm>
            <a:off x="4058930" y="4292599"/>
            <a:ext cx="4068000" cy="72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D8B1F552-AA60-46B7-AF4D-C26649234383}"/>
              </a:ext>
            </a:extLst>
          </p:cNvPr>
          <p:cNvSpPr/>
          <p:nvPr/>
        </p:nvSpPr>
        <p:spPr>
          <a:xfrm>
            <a:off x="8126930" y="4292599"/>
            <a:ext cx="4068000" cy="72000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9462EE9E-BB08-4FD5-ADCD-5BB34756AEC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77676" y="41195"/>
            <a:ext cx="9370747" cy="1325563"/>
          </a:xfrm>
        </p:spPr>
        <p:txBody>
          <a:bodyPr/>
          <a:lstStyle/>
          <a:p>
            <a:r>
              <a:rPr lang="en-US" sz="2800" dirty="0">
                <a:solidFill>
                  <a:schemeClr val="bg1"/>
                </a:solidFill>
                <a:latin typeface="Rockwell Extra Bold" panose="02060903040505020403" pitchFamily="18" charset="0"/>
                <a:ea typeface="+mn-ea"/>
                <a:cs typeface="+mn-cs"/>
              </a:rPr>
              <a:t>“Make it work, </a:t>
            </a:r>
            <a:r>
              <a:rPr lang="ru-RU" sz="2800" dirty="0">
                <a:solidFill>
                  <a:schemeClr val="bg1"/>
                </a:solidFill>
                <a:latin typeface="Rockwell Extra Bold" panose="02060903040505020403" pitchFamily="18" charset="0"/>
                <a:ea typeface="+mn-ea"/>
                <a:cs typeface="+mn-cs"/>
              </a:rPr>
              <a:t> </a:t>
            </a:r>
            <a:r>
              <a:rPr lang="en-US" sz="2800" dirty="0">
                <a:solidFill>
                  <a:schemeClr val="bg1"/>
                </a:solidFill>
                <a:latin typeface="Rockwell Extra Bold" panose="02060903040505020403" pitchFamily="18" charset="0"/>
                <a:ea typeface="+mn-ea"/>
                <a:cs typeface="+mn-cs"/>
              </a:rPr>
              <a:t>make it right, </a:t>
            </a:r>
            <a:r>
              <a:rPr lang="ru-RU" sz="2800" dirty="0">
                <a:solidFill>
                  <a:schemeClr val="bg1"/>
                </a:solidFill>
                <a:latin typeface="Rockwell Extra Bold" panose="02060903040505020403" pitchFamily="18" charset="0"/>
                <a:ea typeface="+mn-ea"/>
                <a:cs typeface="+mn-cs"/>
              </a:rPr>
              <a:t> </a:t>
            </a:r>
            <a:r>
              <a:rPr lang="en-US" sz="2800" dirty="0">
                <a:solidFill>
                  <a:schemeClr val="bg1"/>
                </a:solidFill>
                <a:latin typeface="Rockwell Extra Bold" panose="02060903040505020403" pitchFamily="18" charset="0"/>
                <a:ea typeface="+mn-ea"/>
                <a:cs typeface="+mn-cs"/>
              </a:rPr>
              <a:t>make it fast”</a:t>
            </a:r>
            <a:endParaRPr lang="fr-FR" sz="2800" dirty="0">
              <a:solidFill>
                <a:schemeClr val="bg1"/>
              </a:solidFill>
              <a:latin typeface="Rockwell Extra Bold" panose="02060903040505020403" pitchFamily="18" charset="0"/>
              <a:ea typeface="+mn-ea"/>
              <a:cs typeface="+mn-cs"/>
            </a:endParaRPr>
          </a:p>
        </p:txBody>
      </p:sp>
      <p:grpSp>
        <p:nvGrpSpPr>
          <p:cNvPr id="93" name="Artification_Intelligence2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A5C5747A-F385-41BF-9F42-345F248BB5D8}"/>
              </a:ext>
            </a:extLst>
          </p:cNvPr>
          <p:cNvGrpSpPr>
            <a:grpSpLocks noChangeAspect="1"/>
          </p:cNvGrpSpPr>
          <p:nvPr/>
        </p:nvGrpSpPr>
        <p:grpSpPr>
          <a:xfrm>
            <a:off x="9597124" y="4822625"/>
            <a:ext cx="676936" cy="638722"/>
            <a:chOff x="2316163" y="3028950"/>
            <a:chExt cx="787400" cy="742950"/>
          </a:xfrm>
          <a:solidFill>
            <a:schemeClr val="bg1"/>
          </a:solidFill>
        </p:grpSpPr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5A19E3E7-9DA5-48AD-B608-E41236C6695A}"/>
                </a:ext>
              </a:extLst>
            </p:cNvPr>
            <p:cNvSpPr>
              <a:spLocks/>
            </p:cNvSpPr>
            <p:nvPr/>
          </p:nvSpPr>
          <p:spPr bwMode="auto">
            <a:xfrm>
              <a:off x="2316163" y="3032125"/>
              <a:ext cx="379413" cy="739775"/>
            </a:xfrm>
            <a:custGeom>
              <a:avLst/>
              <a:gdLst>
                <a:gd name="connsiteX0" fmla="*/ 115094 w 379413"/>
                <a:gd name="connsiteY0" fmla="*/ 403225 h 739775"/>
                <a:gd name="connsiteX1" fmla="*/ 88900 w 379413"/>
                <a:gd name="connsiteY1" fmla="*/ 430213 h 739775"/>
                <a:gd name="connsiteX2" fmla="*/ 115094 w 379413"/>
                <a:gd name="connsiteY2" fmla="*/ 457201 h 739775"/>
                <a:gd name="connsiteX3" fmla="*/ 141288 w 379413"/>
                <a:gd name="connsiteY3" fmla="*/ 430213 h 739775"/>
                <a:gd name="connsiteX4" fmla="*/ 115094 w 379413"/>
                <a:gd name="connsiteY4" fmla="*/ 403225 h 739775"/>
                <a:gd name="connsiteX5" fmla="*/ 256306 w 379413"/>
                <a:gd name="connsiteY5" fmla="*/ 0 h 739775"/>
                <a:gd name="connsiteX6" fmla="*/ 379413 w 379413"/>
                <a:gd name="connsiteY6" fmla="*/ 123634 h 739775"/>
                <a:gd name="connsiteX7" fmla="*/ 379413 w 379413"/>
                <a:gd name="connsiteY7" fmla="*/ 414338 h 739775"/>
                <a:gd name="connsiteX8" fmla="*/ 373460 w 379413"/>
                <a:gd name="connsiteY8" fmla="*/ 414338 h 739775"/>
                <a:gd name="connsiteX9" fmla="*/ 298450 w 379413"/>
                <a:gd name="connsiteY9" fmla="*/ 488678 h 739775"/>
                <a:gd name="connsiteX10" fmla="*/ 229981 w 379413"/>
                <a:gd name="connsiteY10" fmla="*/ 443189 h 739775"/>
                <a:gd name="connsiteX11" fmla="*/ 224253 w 379413"/>
                <a:gd name="connsiteY11" fmla="*/ 415040 h 739775"/>
                <a:gd name="connsiteX12" fmla="*/ 236803 w 379413"/>
                <a:gd name="connsiteY12" fmla="*/ 409841 h 739775"/>
                <a:gd name="connsiteX13" fmla="*/ 244475 w 379413"/>
                <a:gd name="connsiteY13" fmla="*/ 391319 h 739775"/>
                <a:gd name="connsiteX14" fmla="*/ 218281 w 379413"/>
                <a:gd name="connsiteY14" fmla="*/ 365125 h 739775"/>
                <a:gd name="connsiteX15" fmla="*/ 192087 w 379413"/>
                <a:gd name="connsiteY15" fmla="*/ 391319 h 739775"/>
                <a:gd name="connsiteX16" fmla="*/ 199759 w 379413"/>
                <a:gd name="connsiteY16" fmla="*/ 409841 h 739775"/>
                <a:gd name="connsiteX17" fmla="*/ 212919 w 379413"/>
                <a:gd name="connsiteY17" fmla="*/ 415292 h 739775"/>
                <a:gd name="connsiteX18" fmla="*/ 219527 w 379413"/>
                <a:gd name="connsiteY18" fmla="*/ 447793 h 739775"/>
                <a:gd name="connsiteX19" fmla="*/ 298450 w 379413"/>
                <a:gd name="connsiteY19" fmla="*/ 500063 h 739775"/>
                <a:gd name="connsiteX20" fmla="*/ 377467 w 379413"/>
                <a:gd name="connsiteY20" fmla="*/ 447793 h 739775"/>
                <a:gd name="connsiteX21" fmla="*/ 379413 w 379413"/>
                <a:gd name="connsiteY21" fmla="*/ 438089 h 739775"/>
                <a:gd name="connsiteX22" fmla="*/ 379413 w 379413"/>
                <a:gd name="connsiteY22" fmla="*/ 635058 h 739775"/>
                <a:gd name="connsiteX23" fmla="*/ 275142 w 379413"/>
                <a:gd name="connsiteY23" fmla="*/ 739775 h 739775"/>
                <a:gd name="connsiteX24" fmla="*/ 178460 w 379413"/>
                <a:gd name="connsiteY24" fmla="*/ 675647 h 739775"/>
                <a:gd name="connsiteX25" fmla="*/ 171156 w 379413"/>
                <a:gd name="connsiteY25" fmla="*/ 639763 h 739775"/>
                <a:gd name="connsiteX26" fmla="*/ 176553 w 379413"/>
                <a:gd name="connsiteY26" fmla="*/ 639763 h 739775"/>
                <a:gd name="connsiteX27" fmla="*/ 250825 w 379413"/>
                <a:gd name="connsiteY27" fmla="*/ 599818 h 739775"/>
                <a:gd name="connsiteX28" fmla="*/ 247526 w 379413"/>
                <a:gd name="connsiteY28" fmla="*/ 597672 h 739775"/>
                <a:gd name="connsiteX29" fmla="*/ 264319 w 379413"/>
                <a:gd name="connsiteY29" fmla="*/ 604839 h 739775"/>
                <a:gd name="connsiteX30" fmla="*/ 290513 w 379413"/>
                <a:gd name="connsiteY30" fmla="*/ 577851 h 739775"/>
                <a:gd name="connsiteX31" fmla="*/ 264319 w 379413"/>
                <a:gd name="connsiteY31" fmla="*/ 550863 h 739775"/>
                <a:gd name="connsiteX32" fmla="*/ 238125 w 379413"/>
                <a:gd name="connsiteY32" fmla="*/ 577851 h 739775"/>
                <a:gd name="connsiteX33" fmla="*/ 245586 w 379413"/>
                <a:gd name="connsiteY33" fmla="*/ 596411 h 739775"/>
                <a:gd name="connsiteX34" fmla="*/ 241458 w 379413"/>
                <a:gd name="connsiteY34" fmla="*/ 593725 h 739775"/>
                <a:gd name="connsiteX35" fmla="*/ 171869 w 379413"/>
                <a:gd name="connsiteY35" fmla="*/ 628254 h 739775"/>
                <a:gd name="connsiteX36" fmla="*/ 170459 w 379413"/>
                <a:gd name="connsiteY36" fmla="*/ 636340 h 739775"/>
                <a:gd name="connsiteX37" fmla="*/ 170198 w 379413"/>
                <a:gd name="connsiteY37" fmla="*/ 635058 h 739775"/>
                <a:gd name="connsiteX38" fmla="*/ 170871 w 379413"/>
                <a:gd name="connsiteY38" fmla="*/ 633707 h 739775"/>
                <a:gd name="connsiteX39" fmla="*/ 162125 w 379413"/>
                <a:gd name="connsiteY39" fmla="*/ 635058 h 739775"/>
                <a:gd name="connsiteX40" fmla="*/ 57854 w 379413"/>
                <a:gd name="connsiteY40" fmla="*/ 530341 h 739775"/>
                <a:gd name="connsiteX41" fmla="*/ 64581 w 379413"/>
                <a:gd name="connsiteY41" fmla="*/ 495210 h 739775"/>
                <a:gd name="connsiteX42" fmla="*/ 64474 w 379413"/>
                <a:gd name="connsiteY42" fmla="*/ 495101 h 739775"/>
                <a:gd name="connsiteX43" fmla="*/ 69128 w 379413"/>
                <a:gd name="connsiteY43" fmla="*/ 496888 h 739775"/>
                <a:gd name="connsiteX44" fmla="*/ 96837 w 379413"/>
                <a:gd name="connsiteY44" fmla="*/ 454991 h 739775"/>
                <a:gd name="connsiteX45" fmla="*/ 87832 w 379413"/>
                <a:gd name="connsiteY45" fmla="*/ 447675 h 739775"/>
                <a:gd name="connsiteX46" fmla="*/ 66011 w 379413"/>
                <a:gd name="connsiteY46" fmla="*/ 477519 h 739775"/>
                <a:gd name="connsiteX47" fmla="*/ 59905 w 379413"/>
                <a:gd name="connsiteY47" fmla="*/ 490429 h 739775"/>
                <a:gd name="connsiteX48" fmla="*/ 17911 w 379413"/>
                <a:gd name="connsiteY48" fmla="*/ 447496 h 739775"/>
                <a:gd name="connsiteX49" fmla="*/ 0 w 379413"/>
                <a:gd name="connsiteY49" fmla="*/ 381035 h 739775"/>
                <a:gd name="connsiteX50" fmla="*/ 15809 w 379413"/>
                <a:gd name="connsiteY50" fmla="*/ 317530 h 739775"/>
                <a:gd name="connsiteX51" fmla="*/ 54611 w 379413"/>
                <a:gd name="connsiteY51" fmla="*/ 273886 h 739775"/>
                <a:gd name="connsiteX52" fmla="*/ 62300 w 379413"/>
                <a:gd name="connsiteY52" fmla="*/ 284347 h 739775"/>
                <a:gd name="connsiteX53" fmla="*/ 87461 w 379413"/>
                <a:gd name="connsiteY53" fmla="*/ 304155 h 739775"/>
                <a:gd name="connsiteX54" fmla="*/ 84137 w 379413"/>
                <a:gd name="connsiteY54" fmla="*/ 311944 h 739775"/>
                <a:gd name="connsiteX55" fmla="*/ 111125 w 379413"/>
                <a:gd name="connsiteY55" fmla="*/ 338138 h 739775"/>
                <a:gd name="connsiteX56" fmla="*/ 138113 w 379413"/>
                <a:gd name="connsiteY56" fmla="*/ 311944 h 739775"/>
                <a:gd name="connsiteX57" fmla="*/ 111125 w 379413"/>
                <a:gd name="connsiteY57" fmla="*/ 285750 h 739775"/>
                <a:gd name="connsiteX58" fmla="*/ 92042 w 379413"/>
                <a:gd name="connsiteY58" fmla="*/ 293422 h 739775"/>
                <a:gd name="connsiteX59" fmla="*/ 91841 w 379413"/>
                <a:gd name="connsiteY59" fmla="*/ 293893 h 739775"/>
                <a:gd name="connsiteX60" fmla="*/ 70792 w 379413"/>
                <a:gd name="connsiteY60" fmla="*/ 277247 h 739775"/>
                <a:gd name="connsiteX61" fmla="*/ 64065 w 379413"/>
                <a:gd name="connsiteY61" fmla="*/ 268288 h 739775"/>
                <a:gd name="connsiteX62" fmla="*/ 56384 w 379413"/>
                <a:gd name="connsiteY62" fmla="*/ 271891 h 739775"/>
                <a:gd name="connsiteX63" fmla="*/ 57854 w 379413"/>
                <a:gd name="connsiteY63" fmla="*/ 270238 h 739775"/>
                <a:gd name="connsiteX64" fmla="*/ 41036 w 379413"/>
                <a:gd name="connsiteY64" fmla="*/ 216866 h 739775"/>
                <a:gd name="connsiteX65" fmla="*/ 97229 w 379413"/>
                <a:gd name="connsiteY65" fmla="*/ 130981 h 739775"/>
                <a:gd name="connsiteX66" fmla="*/ 128645 w 379413"/>
                <a:gd name="connsiteY66" fmla="*/ 124564 h 739775"/>
                <a:gd name="connsiteX67" fmla="*/ 129534 w 379413"/>
                <a:gd name="connsiteY67" fmla="*/ 135867 h 739775"/>
                <a:gd name="connsiteX68" fmla="*/ 154145 w 379413"/>
                <a:gd name="connsiteY68" fmla="*/ 190146 h 739775"/>
                <a:gd name="connsiteX69" fmla="*/ 186213 w 379413"/>
                <a:gd name="connsiteY69" fmla="*/ 205005 h 739775"/>
                <a:gd name="connsiteX70" fmla="*/ 192055 w 379413"/>
                <a:gd name="connsiteY70" fmla="*/ 219110 h 739775"/>
                <a:gd name="connsiteX71" fmla="*/ 211138 w 379413"/>
                <a:gd name="connsiteY71" fmla="*/ 227014 h 739775"/>
                <a:gd name="connsiteX72" fmla="*/ 238126 w 379413"/>
                <a:gd name="connsiteY72" fmla="*/ 200026 h 739775"/>
                <a:gd name="connsiteX73" fmla="*/ 211138 w 379413"/>
                <a:gd name="connsiteY73" fmla="*/ 173038 h 739775"/>
                <a:gd name="connsiteX74" fmla="*/ 192055 w 379413"/>
                <a:gd name="connsiteY74" fmla="*/ 180943 h 739775"/>
                <a:gd name="connsiteX75" fmla="*/ 186732 w 379413"/>
                <a:gd name="connsiteY75" fmla="*/ 193793 h 739775"/>
                <a:gd name="connsiteX76" fmla="*/ 161146 w 379413"/>
                <a:gd name="connsiteY76" fmla="*/ 181868 h 739775"/>
                <a:gd name="connsiteX77" fmla="*/ 139239 w 379413"/>
                <a:gd name="connsiteY77" fmla="*/ 123825 h 739775"/>
                <a:gd name="connsiteX78" fmla="*/ 132263 w 379413"/>
                <a:gd name="connsiteY78" fmla="*/ 123825 h 739775"/>
                <a:gd name="connsiteX79" fmla="*/ 133198 w 379413"/>
                <a:gd name="connsiteY79" fmla="*/ 123634 h 739775"/>
                <a:gd name="connsiteX80" fmla="*/ 256306 w 379413"/>
                <a:gd name="connsiteY80" fmla="*/ 0 h 739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</a:cxnLst>
              <a:rect l="l" t="t" r="r" b="b"/>
              <a:pathLst>
                <a:path w="379413" h="739775">
                  <a:moveTo>
                    <a:pt x="115094" y="403225"/>
                  </a:moveTo>
                  <a:cubicBezTo>
                    <a:pt x="100627" y="403225"/>
                    <a:pt x="88900" y="415308"/>
                    <a:pt x="88900" y="430213"/>
                  </a:cubicBezTo>
                  <a:cubicBezTo>
                    <a:pt x="88900" y="445118"/>
                    <a:pt x="100627" y="457201"/>
                    <a:pt x="115094" y="457201"/>
                  </a:cubicBezTo>
                  <a:cubicBezTo>
                    <a:pt x="129561" y="457201"/>
                    <a:pt x="141288" y="445118"/>
                    <a:pt x="141288" y="430213"/>
                  </a:cubicBezTo>
                  <a:cubicBezTo>
                    <a:pt x="141288" y="415308"/>
                    <a:pt x="129561" y="403225"/>
                    <a:pt x="115094" y="403225"/>
                  </a:cubicBezTo>
                  <a:close/>
                  <a:moveTo>
                    <a:pt x="256306" y="0"/>
                  </a:moveTo>
                  <a:cubicBezTo>
                    <a:pt x="324250" y="0"/>
                    <a:pt x="379413" y="55399"/>
                    <a:pt x="379413" y="123634"/>
                  </a:cubicBezTo>
                  <a:lnTo>
                    <a:pt x="379413" y="414338"/>
                  </a:lnTo>
                  <a:lnTo>
                    <a:pt x="373460" y="414338"/>
                  </a:lnTo>
                  <a:cubicBezTo>
                    <a:pt x="373460" y="455191"/>
                    <a:pt x="339973" y="488678"/>
                    <a:pt x="298450" y="488678"/>
                  </a:cubicBezTo>
                  <a:cubicBezTo>
                    <a:pt x="267810" y="488678"/>
                    <a:pt x="241314" y="469842"/>
                    <a:pt x="229981" y="443189"/>
                  </a:cubicBezTo>
                  <a:lnTo>
                    <a:pt x="224253" y="415040"/>
                  </a:lnTo>
                  <a:lnTo>
                    <a:pt x="236803" y="409841"/>
                  </a:lnTo>
                  <a:cubicBezTo>
                    <a:pt x="241543" y="405101"/>
                    <a:pt x="244475" y="398553"/>
                    <a:pt x="244475" y="391319"/>
                  </a:cubicBezTo>
                  <a:cubicBezTo>
                    <a:pt x="244475" y="376852"/>
                    <a:pt x="232748" y="365125"/>
                    <a:pt x="218281" y="365125"/>
                  </a:cubicBezTo>
                  <a:cubicBezTo>
                    <a:pt x="203814" y="365125"/>
                    <a:pt x="192087" y="376852"/>
                    <a:pt x="192087" y="391319"/>
                  </a:cubicBezTo>
                  <a:cubicBezTo>
                    <a:pt x="192087" y="398553"/>
                    <a:pt x="195019" y="405101"/>
                    <a:pt x="199759" y="409841"/>
                  </a:cubicBezTo>
                  <a:lnTo>
                    <a:pt x="212919" y="415292"/>
                  </a:lnTo>
                  <a:lnTo>
                    <a:pt x="219527" y="447793"/>
                  </a:lnTo>
                  <a:cubicBezTo>
                    <a:pt x="232650" y="478590"/>
                    <a:pt x="263290" y="500063"/>
                    <a:pt x="298450" y="500063"/>
                  </a:cubicBezTo>
                  <a:cubicBezTo>
                    <a:pt x="334113" y="500063"/>
                    <a:pt x="364502" y="478590"/>
                    <a:pt x="377467" y="447793"/>
                  </a:cubicBezTo>
                  <a:lnTo>
                    <a:pt x="379413" y="438089"/>
                  </a:lnTo>
                  <a:lnTo>
                    <a:pt x="379413" y="635058"/>
                  </a:lnTo>
                  <a:cubicBezTo>
                    <a:pt x="379413" y="692484"/>
                    <a:pt x="332323" y="739775"/>
                    <a:pt x="275142" y="739775"/>
                  </a:cubicBezTo>
                  <a:cubicBezTo>
                    <a:pt x="231752" y="739775"/>
                    <a:pt x="194416" y="713174"/>
                    <a:pt x="178460" y="675647"/>
                  </a:cubicBezTo>
                  <a:lnTo>
                    <a:pt x="171156" y="639763"/>
                  </a:lnTo>
                  <a:lnTo>
                    <a:pt x="176553" y="639763"/>
                  </a:lnTo>
                  <a:cubicBezTo>
                    <a:pt x="191274" y="639763"/>
                    <a:pt x="225399" y="635701"/>
                    <a:pt x="250825" y="599818"/>
                  </a:cubicBezTo>
                  <a:lnTo>
                    <a:pt x="247526" y="597672"/>
                  </a:lnTo>
                  <a:lnTo>
                    <a:pt x="264319" y="604839"/>
                  </a:lnTo>
                  <a:cubicBezTo>
                    <a:pt x="278786" y="604839"/>
                    <a:pt x="290513" y="592756"/>
                    <a:pt x="290513" y="577851"/>
                  </a:cubicBezTo>
                  <a:cubicBezTo>
                    <a:pt x="290513" y="562946"/>
                    <a:pt x="278786" y="550863"/>
                    <a:pt x="264319" y="550863"/>
                  </a:cubicBezTo>
                  <a:cubicBezTo>
                    <a:pt x="249852" y="550863"/>
                    <a:pt x="238125" y="562946"/>
                    <a:pt x="238125" y="577851"/>
                  </a:cubicBezTo>
                  <a:lnTo>
                    <a:pt x="245586" y="596411"/>
                  </a:lnTo>
                  <a:lnTo>
                    <a:pt x="241458" y="593725"/>
                  </a:lnTo>
                  <a:cubicBezTo>
                    <a:pt x="213355" y="632993"/>
                    <a:pt x="173208" y="628931"/>
                    <a:pt x="171869" y="628254"/>
                  </a:cubicBezTo>
                  <a:lnTo>
                    <a:pt x="170459" y="636340"/>
                  </a:lnTo>
                  <a:lnTo>
                    <a:pt x="170198" y="635058"/>
                  </a:lnTo>
                  <a:cubicBezTo>
                    <a:pt x="170198" y="634383"/>
                    <a:pt x="170871" y="634383"/>
                    <a:pt x="170871" y="633707"/>
                  </a:cubicBezTo>
                  <a:cubicBezTo>
                    <a:pt x="167507" y="634383"/>
                    <a:pt x="164816" y="635058"/>
                    <a:pt x="162125" y="635058"/>
                  </a:cubicBezTo>
                  <a:cubicBezTo>
                    <a:pt x="104944" y="635058"/>
                    <a:pt x="57854" y="587767"/>
                    <a:pt x="57854" y="530341"/>
                  </a:cubicBezTo>
                  <a:cubicBezTo>
                    <a:pt x="57854" y="517505"/>
                    <a:pt x="60545" y="506020"/>
                    <a:pt x="64581" y="495210"/>
                  </a:cubicBezTo>
                  <a:lnTo>
                    <a:pt x="64474" y="495101"/>
                  </a:lnTo>
                  <a:lnTo>
                    <a:pt x="69128" y="496888"/>
                  </a:lnTo>
                  <a:cubicBezTo>
                    <a:pt x="69821" y="496223"/>
                    <a:pt x="78133" y="474277"/>
                    <a:pt x="96837" y="454991"/>
                  </a:cubicBezTo>
                  <a:lnTo>
                    <a:pt x="87832" y="447675"/>
                  </a:lnTo>
                  <a:cubicBezTo>
                    <a:pt x="78134" y="457983"/>
                    <a:pt x="70860" y="468956"/>
                    <a:pt x="66011" y="477519"/>
                  </a:cubicBezTo>
                  <a:lnTo>
                    <a:pt x="59905" y="490429"/>
                  </a:lnTo>
                  <a:lnTo>
                    <a:pt x="17911" y="447496"/>
                  </a:lnTo>
                  <a:cubicBezTo>
                    <a:pt x="6559" y="427989"/>
                    <a:pt x="0" y="405357"/>
                    <a:pt x="0" y="381035"/>
                  </a:cubicBezTo>
                  <a:cubicBezTo>
                    <a:pt x="0" y="358065"/>
                    <a:pt x="5718" y="336446"/>
                    <a:pt x="15809" y="317530"/>
                  </a:cubicBezTo>
                  <a:lnTo>
                    <a:pt x="54611" y="273886"/>
                  </a:lnTo>
                  <a:lnTo>
                    <a:pt x="62300" y="284347"/>
                  </a:lnTo>
                  <a:lnTo>
                    <a:pt x="87461" y="304155"/>
                  </a:lnTo>
                  <a:lnTo>
                    <a:pt x="84137" y="311944"/>
                  </a:lnTo>
                  <a:cubicBezTo>
                    <a:pt x="84137" y="326411"/>
                    <a:pt x="96220" y="338138"/>
                    <a:pt x="111125" y="338138"/>
                  </a:cubicBezTo>
                  <a:cubicBezTo>
                    <a:pt x="126030" y="338138"/>
                    <a:pt x="138113" y="326411"/>
                    <a:pt x="138113" y="311944"/>
                  </a:cubicBezTo>
                  <a:cubicBezTo>
                    <a:pt x="138113" y="297477"/>
                    <a:pt x="126030" y="285750"/>
                    <a:pt x="111125" y="285750"/>
                  </a:cubicBezTo>
                  <a:cubicBezTo>
                    <a:pt x="103673" y="285750"/>
                    <a:pt x="96926" y="288682"/>
                    <a:pt x="92042" y="293422"/>
                  </a:cubicBezTo>
                  <a:lnTo>
                    <a:pt x="91841" y="293893"/>
                  </a:lnTo>
                  <a:lnTo>
                    <a:pt x="70792" y="277247"/>
                  </a:lnTo>
                  <a:cubicBezTo>
                    <a:pt x="66083" y="272007"/>
                    <a:pt x="64065" y="268288"/>
                    <a:pt x="64065" y="268288"/>
                  </a:cubicBezTo>
                  <a:lnTo>
                    <a:pt x="56384" y="271891"/>
                  </a:lnTo>
                  <a:lnTo>
                    <a:pt x="57854" y="270238"/>
                  </a:lnTo>
                  <a:cubicBezTo>
                    <a:pt x="47090" y="255375"/>
                    <a:pt x="41036" y="237133"/>
                    <a:pt x="41036" y="216866"/>
                  </a:cubicBezTo>
                  <a:cubicBezTo>
                    <a:pt x="41036" y="178357"/>
                    <a:pt x="64119" y="145169"/>
                    <a:pt x="97229" y="130981"/>
                  </a:cubicBezTo>
                  <a:lnTo>
                    <a:pt x="128645" y="124564"/>
                  </a:lnTo>
                  <a:lnTo>
                    <a:pt x="129534" y="135867"/>
                  </a:lnTo>
                  <a:cubicBezTo>
                    <a:pt x="131427" y="150140"/>
                    <a:pt x="137106" y="174013"/>
                    <a:pt x="154145" y="190146"/>
                  </a:cubicBezTo>
                  <a:lnTo>
                    <a:pt x="186213" y="205005"/>
                  </a:lnTo>
                  <a:lnTo>
                    <a:pt x="192055" y="219110"/>
                  </a:lnTo>
                  <a:cubicBezTo>
                    <a:pt x="196939" y="223993"/>
                    <a:pt x="203686" y="227014"/>
                    <a:pt x="211138" y="227014"/>
                  </a:cubicBezTo>
                  <a:cubicBezTo>
                    <a:pt x="226043" y="227014"/>
                    <a:pt x="238126" y="214931"/>
                    <a:pt x="238126" y="200026"/>
                  </a:cubicBezTo>
                  <a:cubicBezTo>
                    <a:pt x="238126" y="185121"/>
                    <a:pt x="226043" y="173038"/>
                    <a:pt x="211138" y="173038"/>
                  </a:cubicBezTo>
                  <a:cubicBezTo>
                    <a:pt x="203686" y="173038"/>
                    <a:pt x="196939" y="176059"/>
                    <a:pt x="192055" y="180943"/>
                  </a:cubicBezTo>
                  <a:lnTo>
                    <a:pt x="186732" y="193793"/>
                  </a:lnTo>
                  <a:lnTo>
                    <a:pt x="161146" y="181868"/>
                  </a:lnTo>
                  <a:cubicBezTo>
                    <a:pt x="139613" y="161379"/>
                    <a:pt x="139239" y="125855"/>
                    <a:pt x="139239" y="123825"/>
                  </a:cubicBezTo>
                  <a:lnTo>
                    <a:pt x="132263" y="123825"/>
                  </a:lnTo>
                  <a:lnTo>
                    <a:pt x="133198" y="123634"/>
                  </a:lnTo>
                  <a:cubicBezTo>
                    <a:pt x="133198" y="55399"/>
                    <a:pt x="188361" y="0"/>
                    <a:pt x="256306" y="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8A18989C-9F27-4BE2-93B7-75AA87802FE1}"/>
                </a:ext>
              </a:extLst>
            </p:cNvPr>
            <p:cNvSpPr>
              <a:spLocks/>
            </p:cNvSpPr>
            <p:nvPr/>
          </p:nvSpPr>
          <p:spPr bwMode="auto">
            <a:xfrm rot="10800000">
              <a:off x="2724150" y="3028950"/>
              <a:ext cx="379413" cy="739775"/>
            </a:xfrm>
            <a:custGeom>
              <a:avLst/>
              <a:gdLst>
                <a:gd name="connsiteX0" fmla="*/ 115094 w 379413"/>
                <a:gd name="connsiteY0" fmla="*/ 403225 h 739775"/>
                <a:gd name="connsiteX1" fmla="*/ 88900 w 379413"/>
                <a:gd name="connsiteY1" fmla="*/ 430213 h 739775"/>
                <a:gd name="connsiteX2" fmla="*/ 115094 w 379413"/>
                <a:gd name="connsiteY2" fmla="*/ 457201 h 739775"/>
                <a:gd name="connsiteX3" fmla="*/ 141288 w 379413"/>
                <a:gd name="connsiteY3" fmla="*/ 430213 h 739775"/>
                <a:gd name="connsiteX4" fmla="*/ 115094 w 379413"/>
                <a:gd name="connsiteY4" fmla="*/ 403225 h 739775"/>
                <a:gd name="connsiteX5" fmla="*/ 256306 w 379413"/>
                <a:gd name="connsiteY5" fmla="*/ 0 h 739775"/>
                <a:gd name="connsiteX6" fmla="*/ 379413 w 379413"/>
                <a:gd name="connsiteY6" fmla="*/ 123634 h 739775"/>
                <a:gd name="connsiteX7" fmla="*/ 379413 w 379413"/>
                <a:gd name="connsiteY7" fmla="*/ 414338 h 739775"/>
                <a:gd name="connsiteX8" fmla="*/ 373460 w 379413"/>
                <a:gd name="connsiteY8" fmla="*/ 414338 h 739775"/>
                <a:gd name="connsiteX9" fmla="*/ 298450 w 379413"/>
                <a:gd name="connsiteY9" fmla="*/ 488678 h 739775"/>
                <a:gd name="connsiteX10" fmla="*/ 229981 w 379413"/>
                <a:gd name="connsiteY10" fmla="*/ 443189 h 739775"/>
                <a:gd name="connsiteX11" fmla="*/ 224253 w 379413"/>
                <a:gd name="connsiteY11" fmla="*/ 415040 h 739775"/>
                <a:gd name="connsiteX12" fmla="*/ 236803 w 379413"/>
                <a:gd name="connsiteY12" fmla="*/ 409841 h 739775"/>
                <a:gd name="connsiteX13" fmla="*/ 244475 w 379413"/>
                <a:gd name="connsiteY13" fmla="*/ 391319 h 739775"/>
                <a:gd name="connsiteX14" fmla="*/ 218281 w 379413"/>
                <a:gd name="connsiteY14" fmla="*/ 365125 h 739775"/>
                <a:gd name="connsiteX15" fmla="*/ 192087 w 379413"/>
                <a:gd name="connsiteY15" fmla="*/ 391319 h 739775"/>
                <a:gd name="connsiteX16" fmla="*/ 199759 w 379413"/>
                <a:gd name="connsiteY16" fmla="*/ 409841 h 739775"/>
                <a:gd name="connsiteX17" fmla="*/ 212919 w 379413"/>
                <a:gd name="connsiteY17" fmla="*/ 415292 h 739775"/>
                <a:gd name="connsiteX18" fmla="*/ 219527 w 379413"/>
                <a:gd name="connsiteY18" fmla="*/ 447793 h 739775"/>
                <a:gd name="connsiteX19" fmla="*/ 298450 w 379413"/>
                <a:gd name="connsiteY19" fmla="*/ 500063 h 739775"/>
                <a:gd name="connsiteX20" fmla="*/ 377467 w 379413"/>
                <a:gd name="connsiteY20" fmla="*/ 447793 h 739775"/>
                <a:gd name="connsiteX21" fmla="*/ 379413 w 379413"/>
                <a:gd name="connsiteY21" fmla="*/ 438089 h 739775"/>
                <a:gd name="connsiteX22" fmla="*/ 379413 w 379413"/>
                <a:gd name="connsiteY22" fmla="*/ 635058 h 739775"/>
                <a:gd name="connsiteX23" fmla="*/ 275142 w 379413"/>
                <a:gd name="connsiteY23" fmla="*/ 739775 h 739775"/>
                <a:gd name="connsiteX24" fmla="*/ 178460 w 379413"/>
                <a:gd name="connsiteY24" fmla="*/ 675647 h 739775"/>
                <a:gd name="connsiteX25" fmla="*/ 171156 w 379413"/>
                <a:gd name="connsiteY25" fmla="*/ 639763 h 739775"/>
                <a:gd name="connsiteX26" fmla="*/ 176553 w 379413"/>
                <a:gd name="connsiteY26" fmla="*/ 639763 h 739775"/>
                <a:gd name="connsiteX27" fmla="*/ 250825 w 379413"/>
                <a:gd name="connsiteY27" fmla="*/ 599818 h 739775"/>
                <a:gd name="connsiteX28" fmla="*/ 247526 w 379413"/>
                <a:gd name="connsiteY28" fmla="*/ 597672 h 739775"/>
                <a:gd name="connsiteX29" fmla="*/ 264319 w 379413"/>
                <a:gd name="connsiteY29" fmla="*/ 604839 h 739775"/>
                <a:gd name="connsiteX30" fmla="*/ 290513 w 379413"/>
                <a:gd name="connsiteY30" fmla="*/ 577851 h 739775"/>
                <a:gd name="connsiteX31" fmla="*/ 264319 w 379413"/>
                <a:gd name="connsiteY31" fmla="*/ 550863 h 739775"/>
                <a:gd name="connsiteX32" fmla="*/ 238125 w 379413"/>
                <a:gd name="connsiteY32" fmla="*/ 577851 h 739775"/>
                <a:gd name="connsiteX33" fmla="*/ 245586 w 379413"/>
                <a:gd name="connsiteY33" fmla="*/ 596411 h 739775"/>
                <a:gd name="connsiteX34" fmla="*/ 241458 w 379413"/>
                <a:gd name="connsiteY34" fmla="*/ 593725 h 739775"/>
                <a:gd name="connsiteX35" fmla="*/ 171869 w 379413"/>
                <a:gd name="connsiteY35" fmla="*/ 628254 h 739775"/>
                <a:gd name="connsiteX36" fmla="*/ 170459 w 379413"/>
                <a:gd name="connsiteY36" fmla="*/ 636340 h 739775"/>
                <a:gd name="connsiteX37" fmla="*/ 170198 w 379413"/>
                <a:gd name="connsiteY37" fmla="*/ 635058 h 739775"/>
                <a:gd name="connsiteX38" fmla="*/ 170871 w 379413"/>
                <a:gd name="connsiteY38" fmla="*/ 633707 h 739775"/>
                <a:gd name="connsiteX39" fmla="*/ 162125 w 379413"/>
                <a:gd name="connsiteY39" fmla="*/ 635058 h 739775"/>
                <a:gd name="connsiteX40" fmla="*/ 57854 w 379413"/>
                <a:gd name="connsiteY40" fmla="*/ 530341 h 739775"/>
                <a:gd name="connsiteX41" fmla="*/ 64581 w 379413"/>
                <a:gd name="connsiteY41" fmla="*/ 495210 h 739775"/>
                <a:gd name="connsiteX42" fmla="*/ 64474 w 379413"/>
                <a:gd name="connsiteY42" fmla="*/ 495101 h 739775"/>
                <a:gd name="connsiteX43" fmla="*/ 69128 w 379413"/>
                <a:gd name="connsiteY43" fmla="*/ 496888 h 739775"/>
                <a:gd name="connsiteX44" fmla="*/ 96837 w 379413"/>
                <a:gd name="connsiteY44" fmla="*/ 454991 h 739775"/>
                <a:gd name="connsiteX45" fmla="*/ 87832 w 379413"/>
                <a:gd name="connsiteY45" fmla="*/ 447675 h 739775"/>
                <a:gd name="connsiteX46" fmla="*/ 66011 w 379413"/>
                <a:gd name="connsiteY46" fmla="*/ 477519 h 739775"/>
                <a:gd name="connsiteX47" fmla="*/ 59905 w 379413"/>
                <a:gd name="connsiteY47" fmla="*/ 490429 h 739775"/>
                <a:gd name="connsiteX48" fmla="*/ 17911 w 379413"/>
                <a:gd name="connsiteY48" fmla="*/ 447496 h 739775"/>
                <a:gd name="connsiteX49" fmla="*/ 0 w 379413"/>
                <a:gd name="connsiteY49" fmla="*/ 381035 h 739775"/>
                <a:gd name="connsiteX50" fmla="*/ 15809 w 379413"/>
                <a:gd name="connsiteY50" fmla="*/ 317530 h 739775"/>
                <a:gd name="connsiteX51" fmla="*/ 54611 w 379413"/>
                <a:gd name="connsiteY51" fmla="*/ 273886 h 739775"/>
                <a:gd name="connsiteX52" fmla="*/ 62300 w 379413"/>
                <a:gd name="connsiteY52" fmla="*/ 284347 h 739775"/>
                <a:gd name="connsiteX53" fmla="*/ 87461 w 379413"/>
                <a:gd name="connsiteY53" fmla="*/ 304155 h 739775"/>
                <a:gd name="connsiteX54" fmla="*/ 84137 w 379413"/>
                <a:gd name="connsiteY54" fmla="*/ 311944 h 739775"/>
                <a:gd name="connsiteX55" fmla="*/ 111125 w 379413"/>
                <a:gd name="connsiteY55" fmla="*/ 338138 h 739775"/>
                <a:gd name="connsiteX56" fmla="*/ 138113 w 379413"/>
                <a:gd name="connsiteY56" fmla="*/ 311944 h 739775"/>
                <a:gd name="connsiteX57" fmla="*/ 111125 w 379413"/>
                <a:gd name="connsiteY57" fmla="*/ 285750 h 739775"/>
                <a:gd name="connsiteX58" fmla="*/ 92042 w 379413"/>
                <a:gd name="connsiteY58" fmla="*/ 293422 h 739775"/>
                <a:gd name="connsiteX59" fmla="*/ 91841 w 379413"/>
                <a:gd name="connsiteY59" fmla="*/ 293893 h 739775"/>
                <a:gd name="connsiteX60" fmla="*/ 70792 w 379413"/>
                <a:gd name="connsiteY60" fmla="*/ 277247 h 739775"/>
                <a:gd name="connsiteX61" fmla="*/ 64065 w 379413"/>
                <a:gd name="connsiteY61" fmla="*/ 268288 h 739775"/>
                <a:gd name="connsiteX62" fmla="*/ 56384 w 379413"/>
                <a:gd name="connsiteY62" fmla="*/ 271891 h 739775"/>
                <a:gd name="connsiteX63" fmla="*/ 57854 w 379413"/>
                <a:gd name="connsiteY63" fmla="*/ 270238 h 739775"/>
                <a:gd name="connsiteX64" fmla="*/ 41036 w 379413"/>
                <a:gd name="connsiteY64" fmla="*/ 216866 h 739775"/>
                <a:gd name="connsiteX65" fmla="*/ 97229 w 379413"/>
                <a:gd name="connsiteY65" fmla="*/ 130981 h 739775"/>
                <a:gd name="connsiteX66" fmla="*/ 128645 w 379413"/>
                <a:gd name="connsiteY66" fmla="*/ 124564 h 739775"/>
                <a:gd name="connsiteX67" fmla="*/ 129534 w 379413"/>
                <a:gd name="connsiteY67" fmla="*/ 135867 h 739775"/>
                <a:gd name="connsiteX68" fmla="*/ 154145 w 379413"/>
                <a:gd name="connsiteY68" fmla="*/ 190146 h 739775"/>
                <a:gd name="connsiteX69" fmla="*/ 186213 w 379413"/>
                <a:gd name="connsiteY69" fmla="*/ 205005 h 739775"/>
                <a:gd name="connsiteX70" fmla="*/ 192055 w 379413"/>
                <a:gd name="connsiteY70" fmla="*/ 219110 h 739775"/>
                <a:gd name="connsiteX71" fmla="*/ 211138 w 379413"/>
                <a:gd name="connsiteY71" fmla="*/ 227014 h 739775"/>
                <a:gd name="connsiteX72" fmla="*/ 238126 w 379413"/>
                <a:gd name="connsiteY72" fmla="*/ 200026 h 739775"/>
                <a:gd name="connsiteX73" fmla="*/ 211138 w 379413"/>
                <a:gd name="connsiteY73" fmla="*/ 173038 h 739775"/>
                <a:gd name="connsiteX74" fmla="*/ 192055 w 379413"/>
                <a:gd name="connsiteY74" fmla="*/ 180943 h 739775"/>
                <a:gd name="connsiteX75" fmla="*/ 186732 w 379413"/>
                <a:gd name="connsiteY75" fmla="*/ 193793 h 739775"/>
                <a:gd name="connsiteX76" fmla="*/ 161146 w 379413"/>
                <a:gd name="connsiteY76" fmla="*/ 181868 h 739775"/>
                <a:gd name="connsiteX77" fmla="*/ 139239 w 379413"/>
                <a:gd name="connsiteY77" fmla="*/ 123825 h 739775"/>
                <a:gd name="connsiteX78" fmla="*/ 132263 w 379413"/>
                <a:gd name="connsiteY78" fmla="*/ 123825 h 739775"/>
                <a:gd name="connsiteX79" fmla="*/ 133198 w 379413"/>
                <a:gd name="connsiteY79" fmla="*/ 123634 h 739775"/>
                <a:gd name="connsiteX80" fmla="*/ 256306 w 379413"/>
                <a:gd name="connsiteY80" fmla="*/ 0 h 739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</a:cxnLst>
              <a:rect l="l" t="t" r="r" b="b"/>
              <a:pathLst>
                <a:path w="379413" h="739775">
                  <a:moveTo>
                    <a:pt x="115094" y="403225"/>
                  </a:moveTo>
                  <a:cubicBezTo>
                    <a:pt x="100627" y="403225"/>
                    <a:pt x="88900" y="415308"/>
                    <a:pt x="88900" y="430213"/>
                  </a:cubicBezTo>
                  <a:cubicBezTo>
                    <a:pt x="88900" y="445118"/>
                    <a:pt x="100627" y="457201"/>
                    <a:pt x="115094" y="457201"/>
                  </a:cubicBezTo>
                  <a:cubicBezTo>
                    <a:pt x="129561" y="457201"/>
                    <a:pt x="141288" y="445118"/>
                    <a:pt x="141288" y="430213"/>
                  </a:cubicBezTo>
                  <a:cubicBezTo>
                    <a:pt x="141288" y="415308"/>
                    <a:pt x="129561" y="403225"/>
                    <a:pt x="115094" y="403225"/>
                  </a:cubicBezTo>
                  <a:close/>
                  <a:moveTo>
                    <a:pt x="256306" y="0"/>
                  </a:moveTo>
                  <a:cubicBezTo>
                    <a:pt x="324250" y="0"/>
                    <a:pt x="379413" y="55399"/>
                    <a:pt x="379413" y="123634"/>
                  </a:cubicBezTo>
                  <a:lnTo>
                    <a:pt x="379413" y="414338"/>
                  </a:lnTo>
                  <a:lnTo>
                    <a:pt x="373460" y="414338"/>
                  </a:lnTo>
                  <a:cubicBezTo>
                    <a:pt x="373460" y="455191"/>
                    <a:pt x="339973" y="488678"/>
                    <a:pt x="298450" y="488678"/>
                  </a:cubicBezTo>
                  <a:cubicBezTo>
                    <a:pt x="267810" y="488678"/>
                    <a:pt x="241314" y="469842"/>
                    <a:pt x="229981" y="443189"/>
                  </a:cubicBezTo>
                  <a:lnTo>
                    <a:pt x="224253" y="415040"/>
                  </a:lnTo>
                  <a:lnTo>
                    <a:pt x="236803" y="409841"/>
                  </a:lnTo>
                  <a:cubicBezTo>
                    <a:pt x="241543" y="405101"/>
                    <a:pt x="244475" y="398553"/>
                    <a:pt x="244475" y="391319"/>
                  </a:cubicBezTo>
                  <a:cubicBezTo>
                    <a:pt x="244475" y="376852"/>
                    <a:pt x="232748" y="365125"/>
                    <a:pt x="218281" y="365125"/>
                  </a:cubicBezTo>
                  <a:cubicBezTo>
                    <a:pt x="203814" y="365125"/>
                    <a:pt x="192087" y="376852"/>
                    <a:pt x="192087" y="391319"/>
                  </a:cubicBezTo>
                  <a:cubicBezTo>
                    <a:pt x="192087" y="398553"/>
                    <a:pt x="195019" y="405101"/>
                    <a:pt x="199759" y="409841"/>
                  </a:cubicBezTo>
                  <a:lnTo>
                    <a:pt x="212919" y="415292"/>
                  </a:lnTo>
                  <a:lnTo>
                    <a:pt x="219527" y="447793"/>
                  </a:lnTo>
                  <a:cubicBezTo>
                    <a:pt x="232650" y="478590"/>
                    <a:pt x="263290" y="500063"/>
                    <a:pt x="298450" y="500063"/>
                  </a:cubicBezTo>
                  <a:cubicBezTo>
                    <a:pt x="334113" y="500063"/>
                    <a:pt x="364502" y="478590"/>
                    <a:pt x="377467" y="447793"/>
                  </a:cubicBezTo>
                  <a:lnTo>
                    <a:pt x="379413" y="438089"/>
                  </a:lnTo>
                  <a:lnTo>
                    <a:pt x="379413" y="635058"/>
                  </a:lnTo>
                  <a:cubicBezTo>
                    <a:pt x="379413" y="692484"/>
                    <a:pt x="332323" y="739775"/>
                    <a:pt x="275142" y="739775"/>
                  </a:cubicBezTo>
                  <a:cubicBezTo>
                    <a:pt x="231752" y="739775"/>
                    <a:pt x="194416" y="713174"/>
                    <a:pt x="178460" y="675647"/>
                  </a:cubicBezTo>
                  <a:lnTo>
                    <a:pt x="171156" y="639763"/>
                  </a:lnTo>
                  <a:lnTo>
                    <a:pt x="176553" y="639763"/>
                  </a:lnTo>
                  <a:cubicBezTo>
                    <a:pt x="191274" y="639763"/>
                    <a:pt x="225399" y="635701"/>
                    <a:pt x="250825" y="599818"/>
                  </a:cubicBezTo>
                  <a:lnTo>
                    <a:pt x="247526" y="597672"/>
                  </a:lnTo>
                  <a:lnTo>
                    <a:pt x="264319" y="604839"/>
                  </a:lnTo>
                  <a:cubicBezTo>
                    <a:pt x="278786" y="604839"/>
                    <a:pt x="290513" y="592756"/>
                    <a:pt x="290513" y="577851"/>
                  </a:cubicBezTo>
                  <a:cubicBezTo>
                    <a:pt x="290513" y="562946"/>
                    <a:pt x="278786" y="550863"/>
                    <a:pt x="264319" y="550863"/>
                  </a:cubicBezTo>
                  <a:cubicBezTo>
                    <a:pt x="249852" y="550863"/>
                    <a:pt x="238125" y="562946"/>
                    <a:pt x="238125" y="577851"/>
                  </a:cubicBezTo>
                  <a:lnTo>
                    <a:pt x="245586" y="596411"/>
                  </a:lnTo>
                  <a:lnTo>
                    <a:pt x="241458" y="593725"/>
                  </a:lnTo>
                  <a:cubicBezTo>
                    <a:pt x="213355" y="632993"/>
                    <a:pt x="173208" y="628931"/>
                    <a:pt x="171869" y="628254"/>
                  </a:cubicBezTo>
                  <a:lnTo>
                    <a:pt x="170459" y="636340"/>
                  </a:lnTo>
                  <a:lnTo>
                    <a:pt x="170198" y="635058"/>
                  </a:lnTo>
                  <a:cubicBezTo>
                    <a:pt x="170198" y="634383"/>
                    <a:pt x="170871" y="634383"/>
                    <a:pt x="170871" y="633707"/>
                  </a:cubicBezTo>
                  <a:cubicBezTo>
                    <a:pt x="167507" y="634383"/>
                    <a:pt x="164816" y="635058"/>
                    <a:pt x="162125" y="635058"/>
                  </a:cubicBezTo>
                  <a:cubicBezTo>
                    <a:pt x="104944" y="635058"/>
                    <a:pt x="57854" y="587767"/>
                    <a:pt x="57854" y="530341"/>
                  </a:cubicBezTo>
                  <a:cubicBezTo>
                    <a:pt x="57854" y="517505"/>
                    <a:pt x="60545" y="506020"/>
                    <a:pt x="64581" y="495210"/>
                  </a:cubicBezTo>
                  <a:lnTo>
                    <a:pt x="64474" y="495101"/>
                  </a:lnTo>
                  <a:lnTo>
                    <a:pt x="69128" y="496888"/>
                  </a:lnTo>
                  <a:cubicBezTo>
                    <a:pt x="69821" y="496223"/>
                    <a:pt x="78133" y="474277"/>
                    <a:pt x="96837" y="454991"/>
                  </a:cubicBezTo>
                  <a:lnTo>
                    <a:pt x="87832" y="447675"/>
                  </a:lnTo>
                  <a:cubicBezTo>
                    <a:pt x="78134" y="457983"/>
                    <a:pt x="70860" y="468956"/>
                    <a:pt x="66011" y="477519"/>
                  </a:cubicBezTo>
                  <a:lnTo>
                    <a:pt x="59905" y="490429"/>
                  </a:lnTo>
                  <a:lnTo>
                    <a:pt x="17911" y="447496"/>
                  </a:lnTo>
                  <a:cubicBezTo>
                    <a:pt x="6559" y="427989"/>
                    <a:pt x="0" y="405357"/>
                    <a:pt x="0" y="381035"/>
                  </a:cubicBezTo>
                  <a:cubicBezTo>
                    <a:pt x="0" y="358065"/>
                    <a:pt x="5718" y="336446"/>
                    <a:pt x="15809" y="317530"/>
                  </a:cubicBezTo>
                  <a:lnTo>
                    <a:pt x="54611" y="273886"/>
                  </a:lnTo>
                  <a:lnTo>
                    <a:pt x="62300" y="284347"/>
                  </a:lnTo>
                  <a:lnTo>
                    <a:pt x="87461" y="304155"/>
                  </a:lnTo>
                  <a:lnTo>
                    <a:pt x="84137" y="311944"/>
                  </a:lnTo>
                  <a:cubicBezTo>
                    <a:pt x="84137" y="326411"/>
                    <a:pt x="96220" y="338138"/>
                    <a:pt x="111125" y="338138"/>
                  </a:cubicBezTo>
                  <a:cubicBezTo>
                    <a:pt x="126030" y="338138"/>
                    <a:pt x="138113" y="326411"/>
                    <a:pt x="138113" y="311944"/>
                  </a:cubicBezTo>
                  <a:cubicBezTo>
                    <a:pt x="138113" y="297477"/>
                    <a:pt x="126030" y="285750"/>
                    <a:pt x="111125" y="285750"/>
                  </a:cubicBezTo>
                  <a:cubicBezTo>
                    <a:pt x="103673" y="285750"/>
                    <a:pt x="96926" y="288682"/>
                    <a:pt x="92042" y="293422"/>
                  </a:cubicBezTo>
                  <a:lnTo>
                    <a:pt x="91841" y="293893"/>
                  </a:lnTo>
                  <a:lnTo>
                    <a:pt x="70792" y="277247"/>
                  </a:lnTo>
                  <a:cubicBezTo>
                    <a:pt x="66083" y="272007"/>
                    <a:pt x="64065" y="268288"/>
                    <a:pt x="64065" y="268288"/>
                  </a:cubicBezTo>
                  <a:lnTo>
                    <a:pt x="56384" y="271891"/>
                  </a:lnTo>
                  <a:lnTo>
                    <a:pt x="57854" y="270238"/>
                  </a:lnTo>
                  <a:cubicBezTo>
                    <a:pt x="47090" y="255375"/>
                    <a:pt x="41036" y="237133"/>
                    <a:pt x="41036" y="216866"/>
                  </a:cubicBezTo>
                  <a:cubicBezTo>
                    <a:pt x="41036" y="178357"/>
                    <a:pt x="64119" y="145169"/>
                    <a:pt x="97229" y="130981"/>
                  </a:cubicBezTo>
                  <a:lnTo>
                    <a:pt x="128645" y="124564"/>
                  </a:lnTo>
                  <a:lnTo>
                    <a:pt x="129534" y="135867"/>
                  </a:lnTo>
                  <a:cubicBezTo>
                    <a:pt x="131427" y="150140"/>
                    <a:pt x="137106" y="174013"/>
                    <a:pt x="154145" y="190146"/>
                  </a:cubicBezTo>
                  <a:lnTo>
                    <a:pt x="186213" y="205005"/>
                  </a:lnTo>
                  <a:lnTo>
                    <a:pt x="192055" y="219110"/>
                  </a:lnTo>
                  <a:cubicBezTo>
                    <a:pt x="196939" y="223993"/>
                    <a:pt x="203686" y="227014"/>
                    <a:pt x="211138" y="227014"/>
                  </a:cubicBezTo>
                  <a:cubicBezTo>
                    <a:pt x="226043" y="227014"/>
                    <a:pt x="238126" y="214931"/>
                    <a:pt x="238126" y="200026"/>
                  </a:cubicBezTo>
                  <a:cubicBezTo>
                    <a:pt x="238126" y="185121"/>
                    <a:pt x="226043" y="173038"/>
                    <a:pt x="211138" y="173038"/>
                  </a:cubicBezTo>
                  <a:cubicBezTo>
                    <a:pt x="203686" y="173038"/>
                    <a:pt x="196939" y="176059"/>
                    <a:pt x="192055" y="180943"/>
                  </a:cubicBezTo>
                  <a:lnTo>
                    <a:pt x="186732" y="193793"/>
                  </a:lnTo>
                  <a:lnTo>
                    <a:pt x="161146" y="181868"/>
                  </a:lnTo>
                  <a:cubicBezTo>
                    <a:pt x="139613" y="161379"/>
                    <a:pt x="139239" y="125855"/>
                    <a:pt x="139239" y="123825"/>
                  </a:cubicBezTo>
                  <a:lnTo>
                    <a:pt x="132263" y="123825"/>
                  </a:lnTo>
                  <a:lnTo>
                    <a:pt x="133198" y="123634"/>
                  </a:lnTo>
                  <a:cubicBezTo>
                    <a:pt x="133198" y="55399"/>
                    <a:pt x="188361" y="0"/>
                    <a:pt x="256306" y="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3" name="Oval 2">
            <a:extLst>
              <a:ext uri="{FF2B5EF4-FFF2-40B4-BE49-F238E27FC236}">
                <a16:creationId xmlns:a16="http://schemas.microsoft.com/office/drawing/2014/main" id="{12F080B7-2011-43C9-B1CD-D71E07693F87}"/>
              </a:ext>
            </a:extLst>
          </p:cNvPr>
          <p:cNvSpPr>
            <a:spLocks noChangeAspect="1"/>
          </p:cNvSpPr>
          <p:nvPr/>
        </p:nvSpPr>
        <p:spPr>
          <a:xfrm rot="18859635">
            <a:off x="1791910" y="4624518"/>
            <a:ext cx="914400" cy="914400"/>
          </a:xfrm>
          <a:prstGeom prst="ellipse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kern="0" dirty="0">
              <a:solidFill>
                <a:prstClr val="black"/>
              </a:solidFill>
              <a:latin typeface="Calibri"/>
            </a:endParaRPr>
          </a:p>
        </p:txBody>
      </p:sp>
      <p:grpSp>
        <p:nvGrpSpPr>
          <p:cNvPr id="99" name="Big_data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D899D0F3-5ABE-4969-9EDA-16D0F2EECCA4}"/>
              </a:ext>
            </a:extLst>
          </p:cNvPr>
          <p:cNvGrpSpPr>
            <a:grpSpLocks noChangeAspect="1"/>
          </p:cNvGrpSpPr>
          <p:nvPr>
            <p:custDataLst>
              <p:tags r:id="rId2"/>
            </p:custDataLst>
          </p:nvPr>
        </p:nvGrpSpPr>
        <p:grpSpPr>
          <a:xfrm>
            <a:off x="1934321" y="4799974"/>
            <a:ext cx="645898" cy="546965"/>
            <a:chOff x="2879725" y="4430713"/>
            <a:chExt cx="901701" cy="763587"/>
          </a:xfrm>
          <a:solidFill>
            <a:schemeClr val="bg1"/>
          </a:solidFill>
        </p:grpSpPr>
        <p:sp>
          <p:nvSpPr>
            <p:cNvPr id="100" name="Freeform 192">
              <a:extLst>
                <a:ext uri="{FF2B5EF4-FFF2-40B4-BE49-F238E27FC236}">
                  <a16:creationId xmlns:a16="http://schemas.microsoft.com/office/drawing/2014/main" id="{4D8D559B-212C-4912-90F1-E815A4B72EFF}"/>
                </a:ext>
              </a:extLst>
            </p:cNvPr>
            <p:cNvSpPr>
              <a:spLocks/>
            </p:cNvSpPr>
            <p:nvPr/>
          </p:nvSpPr>
          <p:spPr bwMode="auto">
            <a:xfrm>
              <a:off x="3532188" y="4525963"/>
              <a:ext cx="79375" cy="136525"/>
            </a:xfrm>
            <a:custGeom>
              <a:avLst/>
              <a:gdLst>
                <a:gd name="T0" fmla="*/ 79 w 113"/>
                <a:gd name="T1" fmla="*/ 192 h 192"/>
                <a:gd name="T2" fmla="*/ 79 w 113"/>
                <a:gd name="T3" fmla="*/ 108 h 192"/>
                <a:gd name="T4" fmla="*/ 113 w 113"/>
                <a:gd name="T5" fmla="*/ 57 h 192"/>
                <a:gd name="T6" fmla="*/ 57 w 113"/>
                <a:gd name="T7" fmla="*/ 0 h 192"/>
                <a:gd name="T8" fmla="*/ 0 w 113"/>
                <a:gd name="T9" fmla="*/ 57 h 192"/>
                <a:gd name="T10" fmla="*/ 34 w 113"/>
                <a:gd name="T11" fmla="*/ 108 h 192"/>
                <a:gd name="T12" fmla="*/ 34 w 113"/>
                <a:gd name="T13" fmla="*/ 169 h 192"/>
                <a:gd name="T14" fmla="*/ 79 w 113"/>
                <a:gd name="T15" fmla="*/ 192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13" h="192">
                  <a:moveTo>
                    <a:pt x="79" y="192"/>
                  </a:moveTo>
                  <a:lnTo>
                    <a:pt x="79" y="108"/>
                  </a:lnTo>
                  <a:cubicBezTo>
                    <a:pt x="100" y="100"/>
                    <a:pt x="113" y="79"/>
                    <a:pt x="113" y="57"/>
                  </a:cubicBezTo>
                  <a:cubicBezTo>
                    <a:pt x="113" y="26"/>
                    <a:pt x="88" y="0"/>
                    <a:pt x="57" y="0"/>
                  </a:cubicBezTo>
                  <a:cubicBezTo>
                    <a:pt x="26" y="0"/>
                    <a:pt x="0" y="26"/>
                    <a:pt x="0" y="57"/>
                  </a:cubicBezTo>
                  <a:cubicBezTo>
                    <a:pt x="0" y="79"/>
                    <a:pt x="14" y="100"/>
                    <a:pt x="34" y="108"/>
                  </a:cubicBezTo>
                  <a:lnTo>
                    <a:pt x="34" y="169"/>
                  </a:lnTo>
                  <a:cubicBezTo>
                    <a:pt x="51" y="176"/>
                    <a:pt x="66" y="184"/>
                    <a:pt x="79" y="192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1" name="Freeform 193">
              <a:extLst>
                <a:ext uri="{FF2B5EF4-FFF2-40B4-BE49-F238E27FC236}">
                  <a16:creationId xmlns:a16="http://schemas.microsoft.com/office/drawing/2014/main" id="{21E15E48-75B4-42FA-9D11-A3927705F7F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235325" y="4430713"/>
              <a:ext cx="517525" cy="319088"/>
            </a:xfrm>
            <a:custGeom>
              <a:avLst/>
              <a:gdLst>
                <a:gd name="T0" fmla="*/ 655 w 728"/>
                <a:gd name="T1" fmla="*/ 407 h 449"/>
                <a:gd name="T2" fmla="*/ 624 w 728"/>
                <a:gd name="T3" fmla="*/ 376 h 449"/>
                <a:gd name="T4" fmla="*/ 655 w 728"/>
                <a:gd name="T5" fmla="*/ 345 h 449"/>
                <a:gd name="T6" fmla="*/ 685 w 728"/>
                <a:gd name="T7" fmla="*/ 376 h 449"/>
                <a:gd name="T8" fmla="*/ 655 w 728"/>
                <a:gd name="T9" fmla="*/ 407 h 449"/>
                <a:gd name="T10" fmla="*/ 74 w 728"/>
                <a:gd name="T11" fmla="*/ 42 h 449"/>
                <a:gd name="T12" fmla="*/ 105 w 728"/>
                <a:gd name="T13" fmla="*/ 73 h 449"/>
                <a:gd name="T14" fmla="*/ 74 w 728"/>
                <a:gd name="T15" fmla="*/ 104 h 449"/>
                <a:gd name="T16" fmla="*/ 43 w 728"/>
                <a:gd name="T17" fmla="*/ 73 h 449"/>
                <a:gd name="T18" fmla="*/ 74 w 728"/>
                <a:gd name="T19" fmla="*/ 42 h 449"/>
                <a:gd name="T20" fmla="*/ 74 w 728"/>
                <a:gd name="T21" fmla="*/ 147 h 449"/>
                <a:gd name="T22" fmla="*/ 143 w 728"/>
                <a:gd name="T23" fmla="*/ 98 h 449"/>
                <a:gd name="T24" fmla="*/ 632 w 728"/>
                <a:gd name="T25" fmla="*/ 98 h 449"/>
                <a:gd name="T26" fmla="*/ 632 w 728"/>
                <a:gd name="T27" fmla="*/ 306 h 449"/>
                <a:gd name="T28" fmla="*/ 581 w 728"/>
                <a:gd name="T29" fmla="*/ 376 h 449"/>
                <a:gd name="T30" fmla="*/ 655 w 728"/>
                <a:gd name="T31" fmla="*/ 449 h 449"/>
                <a:gd name="T32" fmla="*/ 728 w 728"/>
                <a:gd name="T33" fmla="*/ 376 h 449"/>
                <a:gd name="T34" fmla="*/ 677 w 728"/>
                <a:gd name="T35" fmla="*/ 306 h 449"/>
                <a:gd name="T36" fmla="*/ 677 w 728"/>
                <a:gd name="T37" fmla="*/ 75 h 449"/>
                <a:gd name="T38" fmla="*/ 655 w 728"/>
                <a:gd name="T39" fmla="*/ 53 h 449"/>
                <a:gd name="T40" fmla="*/ 145 w 728"/>
                <a:gd name="T41" fmla="*/ 53 h 449"/>
                <a:gd name="T42" fmla="*/ 74 w 728"/>
                <a:gd name="T43" fmla="*/ 0 h 449"/>
                <a:gd name="T44" fmla="*/ 0 w 728"/>
                <a:gd name="T45" fmla="*/ 73 h 449"/>
                <a:gd name="T46" fmla="*/ 74 w 728"/>
                <a:gd name="T47" fmla="*/ 147 h 4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728" h="449">
                  <a:moveTo>
                    <a:pt x="655" y="407"/>
                  </a:moveTo>
                  <a:cubicBezTo>
                    <a:pt x="637" y="407"/>
                    <a:pt x="624" y="393"/>
                    <a:pt x="624" y="376"/>
                  </a:cubicBezTo>
                  <a:cubicBezTo>
                    <a:pt x="624" y="359"/>
                    <a:pt x="637" y="345"/>
                    <a:pt x="655" y="345"/>
                  </a:cubicBezTo>
                  <a:cubicBezTo>
                    <a:pt x="672" y="345"/>
                    <a:pt x="685" y="359"/>
                    <a:pt x="685" y="376"/>
                  </a:cubicBezTo>
                  <a:cubicBezTo>
                    <a:pt x="685" y="393"/>
                    <a:pt x="672" y="407"/>
                    <a:pt x="655" y="407"/>
                  </a:cubicBezTo>
                  <a:close/>
                  <a:moveTo>
                    <a:pt x="74" y="42"/>
                  </a:moveTo>
                  <a:cubicBezTo>
                    <a:pt x="91" y="42"/>
                    <a:pt x="105" y="56"/>
                    <a:pt x="105" y="73"/>
                  </a:cubicBezTo>
                  <a:cubicBezTo>
                    <a:pt x="105" y="90"/>
                    <a:pt x="91" y="104"/>
                    <a:pt x="74" y="104"/>
                  </a:cubicBezTo>
                  <a:cubicBezTo>
                    <a:pt x="57" y="104"/>
                    <a:pt x="43" y="90"/>
                    <a:pt x="43" y="73"/>
                  </a:cubicBezTo>
                  <a:cubicBezTo>
                    <a:pt x="43" y="56"/>
                    <a:pt x="57" y="42"/>
                    <a:pt x="74" y="42"/>
                  </a:cubicBezTo>
                  <a:close/>
                  <a:moveTo>
                    <a:pt x="74" y="147"/>
                  </a:moveTo>
                  <a:cubicBezTo>
                    <a:pt x="105" y="147"/>
                    <a:pt x="133" y="127"/>
                    <a:pt x="143" y="98"/>
                  </a:cubicBezTo>
                  <a:lnTo>
                    <a:pt x="632" y="98"/>
                  </a:lnTo>
                  <a:lnTo>
                    <a:pt x="632" y="306"/>
                  </a:lnTo>
                  <a:cubicBezTo>
                    <a:pt x="602" y="315"/>
                    <a:pt x="581" y="344"/>
                    <a:pt x="581" y="376"/>
                  </a:cubicBezTo>
                  <a:cubicBezTo>
                    <a:pt x="581" y="416"/>
                    <a:pt x="614" y="449"/>
                    <a:pt x="655" y="449"/>
                  </a:cubicBezTo>
                  <a:cubicBezTo>
                    <a:pt x="695" y="449"/>
                    <a:pt x="728" y="416"/>
                    <a:pt x="728" y="376"/>
                  </a:cubicBezTo>
                  <a:cubicBezTo>
                    <a:pt x="728" y="344"/>
                    <a:pt x="707" y="315"/>
                    <a:pt x="677" y="306"/>
                  </a:cubicBezTo>
                  <a:lnTo>
                    <a:pt x="677" y="75"/>
                  </a:lnTo>
                  <a:cubicBezTo>
                    <a:pt x="677" y="63"/>
                    <a:pt x="667" y="53"/>
                    <a:pt x="655" y="53"/>
                  </a:cubicBezTo>
                  <a:lnTo>
                    <a:pt x="145" y="53"/>
                  </a:lnTo>
                  <a:cubicBezTo>
                    <a:pt x="135" y="21"/>
                    <a:pt x="107" y="0"/>
                    <a:pt x="74" y="0"/>
                  </a:cubicBezTo>
                  <a:cubicBezTo>
                    <a:pt x="33" y="0"/>
                    <a:pt x="0" y="33"/>
                    <a:pt x="0" y="73"/>
                  </a:cubicBezTo>
                  <a:cubicBezTo>
                    <a:pt x="0" y="114"/>
                    <a:pt x="33" y="147"/>
                    <a:pt x="74" y="147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2" name="Freeform 194">
              <a:extLst>
                <a:ext uri="{FF2B5EF4-FFF2-40B4-BE49-F238E27FC236}">
                  <a16:creationId xmlns:a16="http://schemas.microsoft.com/office/drawing/2014/main" id="{7E37705A-A683-40BC-A885-29434DC535D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284538" y="4525963"/>
              <a:ext cx="190500" cy="106363"/>
            </a:xfrm>
            <a:custGeom>
              <a:avLst/>
              <a:gdLst>
                <a:gd name="T0" fmla="*/ 194 w 268"/>
                <a:gd name="T1" fmla="*/ 43 h 148"/>
                <a:gd name="T2" fmla="*/ 225 w 268"/>
                <a:gd name="T3" fmla="*/ 74 h 148"/>
                <a:gd name="T4" fmla="*/ 194 w 268"/>
                <a:gd name="T5" fmla="*/ 105 h 148"/>
                <a:gd name="T6" fmla="*/ 163 w 268"/>
                <a:gd name="T7" fmla="*/ 74 h 148"/>
                <a:gd name="T8" fmla="*/ 194 w 268"/>
                <a:gd name="T9" fmla="*/ 43 h 148"/>
                <a:gd name="T10" fmla="*/ 45 w 268"/>
                <a:gd name="T11" fmla="*/ 140 h 148"/>
                <a:gd name="T12" fmla="*/ 45 w 268"/>
                <a:gd name="T13" fmla="*/ 97 h 148"/>
                <a:gd name="T14" fmla="*/ 124 w 268"/>
                <a:gd name="T15" fmla="*/ 97 h 148"/>
                <a:gd name="T16" fmla="*/ 194 w 268"/>
                <a:gd name="T17" fmla="*/ 148 h 148"/>
                <a:gd name="T18" fmla="*/ 268 w 268"/>
                <a:gd name="T19" fmla="*/ 74 h 148"/>
                <a:gd name="T20" fmla="*/ 194 w 268"/>
                <a:gd name="T21" fmla="*/ 0 h 148"/>
                <a:gd name="T22" fmla="*/ 124 w 268"/>
                <a:gd name="T23" fmla="*/ 52 h 148"/>
                <a:gd name="T24" fmla="*/ 23 w 268"/>
                <a:gd name="T25" fmla="*/ 52 h 148"/>
                <a:gd name="T26" fmla="*/ 0 w 268"/>
                <a:gd name="T27" fmla="*/ 74 h 148"/>
                <a:gd name="T28" fmla="*/ 0 w 268"/>
                <a:gd name="T29" fmla="*/ 126 h 148"/>
                <a:gd name="T30" fmla="*/ 45 w 268"/>
                <a:gd name="T31" fmla="*/ 140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68" h="148">
                  <a:moveTo>
                    <a:pt x="194" y="43"/>
                  </a:moveTo>
                  <a:cubicBezTo>
                    <a:pt x="211" y="43"/>
                    <a:pt x="225" y="57"/>
                    <a:pt x="225" y="74"/>
                  </a:cubicBezTo>
                  <a:cubicBezTo>
                    <a:pt x="225" y="91"/>
                    <a:pt x="211" y="105"/>
                    <a:pt x="194" y="105"/>
                  </a:cubicBezTo>
                  <a:cubicBezTo>
                    <a:pt x="177" y="105"/>
                    <a:pt x="163" y="91"/>
                    <a:pt x="163" y="74"/>
                  </a:cubicBezTo>
                  <a:cubicBezTo>
                    <a:pt x="163" y="57"/>
                    <a:pt x="177" y="43"/>
                    <a:pt x="194" y="43"/>
                  </a:cubicBezTo>
                  <a:close/>
                  <a:moveTo>
                    <a:pt x="45" y="140"/>
                  </a:moveTo>
                  <a:lnTo>
                    <a:pt x="45" y="97"/>
                  </a:lnTo>
                  <a:lnTo>
                    <a:pt x="124" y="97"/>
                  </a:lnTo>
                  <a:cubicBezTo>
                    <a:pt x="134" y="127"/>
                    <a:pt x="162" y="148"/>
                    <a:pt x="194" y="148"/>
                  </a:cubicBezTo>
                  <a:cubicBezTo>
                    <a:pt x="235" y="148"/>
                    <a:pt x="268" y="115"/>
                    <a:pt x="268" y="74"/>
                  </a:cubicBezTo>
                  <a:cubicBezTo>
                    <a:pt x="268" y="34"/>
                    <a:pt x="235" y="0"/>
                    <a:pt x="194" y="0"/>
                  </a:cubicBezTo>
                  <a:cubicBezTo>
                    <a:pt x="162" y="0"/>
                    <a:pt x="134" y="21"/>
                    <a:pt x="124" y="52"/>
                  </a:cubicBezTo>
                  <a:lnTo>
                    <a:pt x="23" y="52"/>
                  </a:lnTo>
                  <a:cubicBezTo>
                    <a:pt x="10" y="52"/>
                    <a:pt x="0" y="62"/>
                    <a:pt x="0" y="74"/>
                  </a:cubicBezTo>
                  <a:lnTo>
                    <a:pt x="0" y="126"/>
                  </a:lnTo>
                  <a:cubicBezTo>
                    <a:pt x="16" y="130"/>
                    <a:pt x="31" y="134"/>
                    <a:pt x="45" y="14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3" name="Freeform 195">
              <a:extLst>
                <a:ext uri="{FF2B5EF4-FFF2-40B4-BE49-F238E27FC236}">
                  <a16:creationId xmlns:a16="http://schemas.microsoft.com/office/drawing/2014/main" id="{19D68D2F-61A9-4897-9D3B-E4CEFDE19E13}"/>
                </a:ext>
              </a:extLst>
            </p:cNvPr>
            <p:cNvSpPr>
              <a:spLocks/>
            </p:cNvSpPr>
            <p:nvPr/>
          </p:nvSpPr>
          <p:spPr bwMode="auto">
            <a:xfrm>
              <a:off x="3162300" y="4754563"/>
              <a:ext cx="179388" cy="225425"/>
            </a:xfrm>
            <a:custGeom>
              <a:avLst/>
              <a:gdLst>
                <a:gd name="T0" fmla="*/ 0 w 252"/>
                <a:gd name="T1" fmla="*/ 214 h 317"/>
                <a:gd name="T2" fmla="*/ 18 w 252"/>
                <a:gd name="T3" fmla="*/ 300 h 317"/>
                <a:gd name="T4" fmla="*/ 98 w 252"/>
                <a:gd name="T5" fmla="*/ 315 h 317"/>
                <a:gd name="T6" fmla="*/ 61 w 252"/>
                <a:gd name="T7" fmla="*/ 214 h 317"/>
                <a:gd name="T8" fmla="*/ 215 w 252"/>
                <a:gd name="T9" fmla="*/ 60 h 317"/>
                <a:gd name="T10" fmla="*/ 252 w 252"/>
                <a:gd name="T11" fmla="*/ 64 h 317"/>
                <a:gd name="T12" fmla="*/ 202 w 252"/>
                <a:gd name="T13" fmla="*/ 0 h 317"/>
                <a:gd name="T14" fmla="*/ 0 w 252"/>
                <a:gd name="T15" fmla="*/ 214 h 3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52" h="317">
                  <a:moveTo>
                    <a:pt x="0" y="214"/>
                  </a:moveTo>
                  <a:cubicBezTo>
                    <a:pt x="0" y="245"/>
                    <a:pt x="7" y="273"/>
                    <a:pt x="18" y="300"/>
                  </a:cubicBezTo>
                  <a:cubicBezTo>
                    <a:pt x="44" y="313"/>
                    <a:pt x="81" y="317"/>
                    <a:pt x="98" y="315"/>
                  </a:cubicBezTo>
                  <a:cubicBezTo>
                    <a:pt x="75" y="288"/>
                    <a:pt x="61" y="253"/>
                    <a:pt x="61" y="214"/>
                  </a:cubicBezTo>
                  <a:cubicBezTo>
                    <a:pt x="61" y="129"/>
                    <a:pt x="130" y="60"/>
                    <a:pt x="215" y="60"/>
                  </a:cubicBezTo>
                  <a:cubicBezTo>
                    <a:pt x="231" y="60"/>
                    <a:pt x="244" y="62"/>
                    <a:pt x="252" y="64"/>
                  </a:cubicBezTo>
                  <a:cubicBezTo>
                    <a:pt x="245" y="46"/>
                    <a:pt x="217" y="9"/>
                    <a:pt x="202" y="0"/>
                  </a:cubicBezTo>
                  <a:cubicBezTo>
                    <a:pt x="90" y="7"/>
                    <a:pt x="0" y="100"/>
                    <a:pt x="0" y="214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4" name="Freeform 196">
              <a:extLst>
                <a:ext uri="{FF2B5EF4-FFF2-40B4-BE49-F238E27FC236}">
                  <a16:creationId xmlns:a16="http://schemas.microsoft.com/office/drawing/2014/main" id="{2BF1E91A-1078-4068-AD20-37B6EA9F81BF}"/>
                </a:ext>
              </a:extLst>
            </p:cNvPr>
            <p:cNvSpPr>
              <a:spLocks/>
            </p:cNvSpPr>
            <p:nvPr/>
          </p:nvSpPr>
          <p:spPr bwMode="auto">
            <a:xfrm>
              <a:off x="3370263" y="4660900"/>
              <a:ext cx="411163" cy="398463"/>
            </a:xfrm>
            <a:custGeom>
              <a:avLst/>
              <a:gdLst>
                <a:gd name="T0" fmla="*/ 577 w 577"/>
                <a:gd name="T1" fmla="*/ 363 h 561"/>
                <a:gd name="T2" fmla="*/ 370 w 577"/>
                <a:gd name="T3" fmla="*/ 166 h 561"/>
                <a:gd name="T4" fmla="*/ 268 w 577"/>
                <a:gd name="T5" fmla="*/ 44 h 561"/>
                <a:gd name="T6" fmla="*/ 58 w 577"/>
                <a:gd name="T7" fmla="*/ 30 h 561"/>
                <a:gd name="T8" fmla="*/ 96 w 577"/>
                <a:gd name="T9" fmla="*/ 80 h 561"/>
                <a:gd name="T10" fmla="*/ 241 w 577"/>
                <a:gd name="T11" fmla="*/ 98 h 561"/>
                <a:gd name="T12" fmla="*/ 321 w 577"/>
                <a:gd name="T13" fmla="*/ 214 h 561"/>
                <a:gd name="T14" fmla="*/ 350 w 577"/>
                <a:gd name="T15" fmla="*/ 229 h 561"/>
                <a:gd name="T16" fmla="*/ 380 w 577"/>
                <a:gd name="T17" fmla="*/ 226 h 561"/>
                <a:gd name="T18" fmla="*/ 517 w 577"/>
                <a:gd name="T19" fmla="*/ 363 h 561"/>
                <a:gd name="T20" fmla="*/ 380 w 577"/>
                <a:gd name="T21" fmla="*/ 501 h 561"/>
                <a:gd name="T22" fmla="*/ 66 w 577"/>
                <a:gd name="T23" fmla="*/ 501 h 561"/>
                <a:gd name="T24" fmla="*/ 0 w 577"/>
                <a:gd name="T25" fmla="*/ 561 h 561"/>
                <a:gd name="T26" fmla="*/ 380 w 577"/>
                <a:gd name="T27" fmla="*/ 561 h 561"/>
                <a:gd name="T28" fmla="*/ 577 w 577"/>
                <a:gd name="T29" fmla="*/ 363 h 5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577" h="561">
                  <a:moveTo>
                    <a:pt x="577" y="363"/>
                  </a:moveTo>
                  <a:cubicBezTo>
                    <a:pt x="577" y="251"/>
                    <a:pt x="484" y="160"/>
                    <a:pt x="370" y="166"/>
                  </a:cubicBezTo>
                  <a:cubicBezTo>
                    <a:pt x="351" y="114"/>
                    <a:pt x="320" y="76"/>
                    <a:pt x="268" y="44"/>
                  </a:cubicBezTo>
                  <a:cubicBezTo>
                    <a:pt x="212" y="8"/>
                    <a:pt x="123" y="0"/>
                    <a:pt x="58" y="30"/>
                  </a:cubicBezTo>
                  <a:cubicBezTo>
                    <a:pt x="72" y="46"/>
                    <a:pt x="85" y="62"/>
                    <a:pt x="96" y="80"/>
                  </a:cubicBezTo>
                  <a:cubicBezTo>
                    <a:pt x="133" y="69"/>
                    <a:pt x="191" y="64"/>
                    <a:pt x="241" y="98"/>
                  </a:cubicBezTo>
                  <a:cubicBezTo>
                    <a:pt x="298" y="136"/>
                    <a:pt x="312" y="179"/>
                    <a:pt x="321" y="214"/>
                  </a:cubicBezTo>
                  <a:cubicBezTo>
                    <a:pt x="323" y="224"/>
                    <a:pt x="335" y="231"/>
                    <a:pt x="350" y="229"/>
                  </a:cubicBezTo>
                  <a:cubicBezTo>
                    <a:pt x="362" y="227"/>
                    <a:pt x="372" y="226"/>
                    <a:pt x="380" y="226"/>
                  </a:cubicBezTo>
                  <a:cubicBezTo>
                    <a:pt x="456" y="226"/>
                    <a:pt x="517" y="288"/>
                    <a:pt x="517" y="363"/>
                  </a:cubicBezTo>
                  <a:cubicBezTo>
                    <a:pt x="517" y="439"/>
                    <a:pt x="456" y="501"/>
                    <a:pt x="380" y="501"/>
                  </a:cubicBezTo>
                  <a:lnTo>
                    <a:pt x="66" y="501"/>
                  </a:lnTo>
                  <a:cubicBezTo>
                    <a:pt x="47" y="523"/>
                    <a:pt x="25" y="543"/>
                    <a:pt x="0" y="561"/>
                  </a:cubicBezTo>
                  <a:lnTo>
                    <a:pt x="380" y="561"/>
                  </a:lnTo>
                  <a:cubicBezTo>
                    <a:pt x="489" y="561"/>
                    <a:pt x="577" y="472"/>
                    <a:pt x="577" y="363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5" name="Freeform 197">
              <a:extLst>
                <a:ext uri="{FF2B5EF4-FFF2-40B4-BE49-F238E27FC236}">
                  <a16:creationId xmlns:a16="http://schemas.microsoft.com/office/drawing/2014/main" id="{3356BB11-CEEC-4568-9E74-84C0D52C178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79725" y="4638675"/>
              <a:ext cx="592138" cy="555625"/>
            </a:xfrm>
            <a:custGeom>
              <a:avLst/>
              <a:gdLst>
                <a:gd name="T0" fmla="*/ 284 w 830"/>
                <a:gd name="T1" fmla="*/ 411 h 781"/>
                <a:gd name="T2" fmla="*/ 376 w 830"/>
                <a:gd name="T3" fmla="*/ 98 h 781"/>
                <a:gd name="T4" fmla="*/ 487 w 830"/>
                <a:gd name="T5" fmla="*/ 70 h 781"/>
                <a:gd name="T6" fmla="*/ 689 w 830"/>
                <a:gd name="T7" fmla="*/ 189 h 781"/>
                <a:gd name="T8" fmla="*/ 598 w 830"/>
                <a:gd name="T9" fmla="*/ 503 h 781"/>
                <a:gd name="T10" fmla="*/ 487 w 830"/>
                <a:gd name="T11" fmla="*/ 531 h 781"/>
                <a:gd name="T12" fmla="*/ 284 w 830"/>
                <a:gd name="T13" fmla="*/ 411 h 781"/>
                <a:gd name="T14" fmla="*/ 488 w 830"/>
                <a:gd name="T15" fmla="*/ 601 h 781"/>
                <a:gd name="T16" fmla="*/ 631 w 830"/>
                <a:gd name="T17" fmla="*/ 564 h 781"/>
                <a:gd name="T18" fmla="*/ 750 w 830"/>
                <a:gd name="T19" fmla="*/ 156 h 781"/>
                <a:gd name="T20" fmla="*/ 487 w 830"/>
                <a:gd name="T21" fmla="*/ 0 h 781"/>
                <a:gd name="T22" fmla="*/ 343 w 830"/>
                <a:gd name="T23" fmla="*/ 37 h 781"/>
                <a:gd name="T24" fmla="*/ 222 w 830"/>
                <a:gd name="T25" fmla="*/ 441 h 781"/>
                <a:gd name="T26" fmla="*/ 53 w 830"/>
                <a:gd name="T27" fmla="*/ 585 h 781"/>
                <a:gd name="T28" fmla="*/ 48 w 830"/>
                <a:gd name="T29" fmla="*/ 747 h 781"/>
                <a:gd name="T30" fmla="*/ 128 w 830"/>
                <a:gd name="T31" fmla="*/ 781 h 781"/>
                <a:gd name="T32" fmla="*/ 210 w 830"/>
                <a:gd name="T33" fmla="*/ 741 h 781"/>
                <a:gd name="T34" fmla="*/ 353 w 830"/>
                <a:gd name="T35" fmla="*/ 569 h 781"/>
                <a:gd name="T36" fmla="*/ 488 w 830"/>
                <a:gd name="T37" fmla="*/ 601 h 7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830" h="781">
                  <a:moveTo>
                    <a:pt x="284" y="411"/>
                  </a:moveTo>
                  <a:cubicBezTo>
                    <a:pt x="224" y="299"/>
                    <a:pt x="264" y="159"/>
                    <a:pt x="376" y="98"/>
                  </a:cubicBezTo>
                  <a:cubicBezTo>
                    <a:pt x="411" y="79"/>
                    <a:pt x="449" y="70"/>
                    <a:pt x="487" y="70"/>
                  </a:cubicBezTo>
                  <a:cubicBezTo>
                    <a:pt x="568" y="70"/>
                    <a:pt x="647" y="113"/>
                    <a:pt x="689" y="189"/>
                  </a:cubicBezTo>
                  <a:cubicBezTo>
                    <a:pt x="750" y="301"/>
                    <a:pt x="709" y="441"/>
                    <a:pt x="598" y="503"/>
                  </a:cubicBezTo>
                  <a:cubicBezTo>
                    <a:pt x="562" y="522"/>
                    <a:pt x="525" y="531"/>
                    <a:pt x="487" y="531"/>
                  </a:cubicBezTo>
                  <a:cubicBezTo>
                    <a:pt x="406" y="531"/>
                    <a:pt x="327" y="487"/>
                    <a:pt x="284" y="411"/>
                  </a:cubicBezTo>
                  <a:close/>
                  <a:moveTo>
                    <a:pt x="488" y="601"/>
                  </a:moveTo>
                  <a:cubicBezTo>
                    <a:pt x="536" y="601"/>
                    <a:pt x="585" y="589"/>
                    <a:pt x="631" y="564"/>
                  </a:cubicBezTo>
                  <a:cubicBezTo>
                    <a:pt x="777" y="484"/>
                    <a:pt x="830" y="302"/>
                    <a:pt x="750" y="156"/>
                  </a:cubicBezTo>
                  <a:cubicBezTo>
                    <a:pt x="696" y="56"/>
                    <a:pt x="593" y="0"/>
                    <a:pt x="487" y="0"/>
                  </a:cubicBezTo>
                  <a:cubicBezTo>
                    <a:pt x="438" y="0"/>
                    <a:pt x="388" y="12"/>
                    <a:pt x="343" y="37"/>
                  </a:cubicBezTo>
                  <a:cubicBezTo>
                    <a:pt x="198" y="116"/>
                    <a:pt x="145" y="296"/>
                    <a:pt x="222" y="441"/>
                  </a:cubicBezTo>
                  <a:lnTo>
                    <a:pt x="53" y="585"/>
                  </a:lnTo>
                  <a:cubicBezTo>
                    <a:pt x="4" y="626"/>
                    <a:pt x="0" y="701"/>
                    <a:pt x="48" y="747"/>
                  </a:cubicBezTo>
                  <a:cubicBezTo>
                    <a:pt x="71" y="769"/>
                    <a:pt x="99" y="781"/>
                    <a:pt x="128" y="781"/>
                  </a:cubicBezTo>
                  <a:cubicBezTo>
                    <a:pt x="158" y="781"/>
                    <a:pt x="188" y="768"/>
                    <a:pt x="210" y="741"/>
                  </a:cubicBezTo>
                  <a:lnTo>
                    <a:pt x="353" y="569"/>
                  </a:lnTo>
                  <a:cubicBezTo>
                    <a:pt x="395" y="590"/>
                    <a:pt x="441" y="601"/>
                    <a:pt x="488" y="601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106" name="Customization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A29E3F00-269D-46C0-95DE-9FA4FED8022C}"/>
              </a:ext>
            </a:extLst>
          </p:cNvPr>
          <p:cNvGrpSpPr>
            <a:grpSpLocks noChangeAspect="1"/>
          </p:cNvGrpSpPr>
          <p:nvPr>
            <p:custDataLst>
              <p:tags r:id="rId3"/>
            </p:custDataLst>
          </p:nvPr>
        </p:nvGrpSpPr>
        <p:grpSpPr>
          <a:xfrm>
            <a:off x="5806220" y="4799974"/>
            <a:ext cx="579560" cy="699194"/>
            <a:chOff x="7256463" y="3695701"/>
            <a:chExt cx="692150" cy="835025"/>
          </a:xfrm>
          <a:solidFill>
            <a:schemeClr val="bg1"/>
          </a:solidFill>
        </p:grpSpPr>
        <p:sp>
          <p:nvSpPr>
            <p:cNvPr id="107" name="Freeform 385">
              <a:extLst>
                <a:ext uri="{FF2B5EF4-FFF2-40B4-BE49-F238E27FC236}">
                  <a16:creationId xmlns:a16="http://schemas.microsoft.com/office/drawing/2014/main" id="{344F89B4-D9A3-455D-943B-A544F2DC1986}"/>
                </a:ext>
              </a:extLst>
            </p:cNvPr>
            <p:cNvSpPr>
              <a:spLocks/>
            </p:cNvSpPr>
            <p:nvPr/>
          </p:nvSpPr>
          <p:spPr bwMode="auto">
            <a:xfrm>
              <a:off x="7256463" y="3695701"/>
              <a:ext cx="692150" cy="617538"/>
            </a:xfrm>
            <a:custGeom>
              <a:avLst/>
              <a:gdLst>
                <a:gd name="T0" fmla="*/ 222 w 444"/>
                <a:gd name="T1" fmla="*/ 0 h 396"/>
                <a:gd name="T2" fmla="*/ 0 w 444"/>
                <a:gd name="T3" fmla="*/ 222 h 396"/>
                <a:gd name="T4" fmla="*/ 85 w 444"/>
                <a:gd name="T5" fmla="*/ 396 h 396"/>
                <a:gd name="T6" fmla="*/ 85 w 444"/>
                <a:gd name="T7" fmla="*/ 323 h 396"/>
                <a:gd name="T8" fmla="*/ 128 w 444"/>
                <a:gd name="T9" fmla="*/ 264 h 396"/>
                <a:gd name="T10" fmla="*/ 187 w 444"/>
                <a:gd name="T11" fmla="*/ 250 h 396"/>
                <a:gd name="T12" fmla="*/ 188 w 444"/>
                <a:gd name="T13" fmla="*/ 250 h 396"/>
                <a:gd name="T14" fmla="*/ 157 w 444"/>
                <a:gd name="T15" fmla="*/ 185 h 396"/>
                <a:gd name="T16" fmla="*/ 157 w 444"/>
                <a:gd name="T17" fmla="*/ 171 h 396"/>
                <a:gd name="T18" fmla="*/ 222 w 444"/>
                <a:gd name="T19" fmla="*/ 107 h 396"/>
                <a:gd name="T20" fmla="*/ 287 w 444"/>
                <a:gd name="T21" fmla="*/ 171 h 396"/>
                <a:gd name="T22" fmla="*/ 287 w 444"/>
                <a:gd name="T23" fmla="*/ 185 h 396"/>
                <a:gd name="T24" fmla="*/ 256 w 444"/>
                <a:gd name="T25" fmla="*/ 250 h 396"/>
                <a:gd name="T26" fmla="*/ 257 w 444"/>
                <a:gd name="T27" fmla="*/ 250 h 396"/>
                <a:gd name="T28" fmla="*/ 316 w 444"/>
                <a:gd name="T29" fmla="*/ 264 h 396"/>
                <a:gd name="T30" fmla="*/ 316 w 444"/>
                <a:gd name="T31" fmla="*/ 264 h 396"/>
                <a:gd name="T32" fmla="*/ 359 w 444"/>
                <a:gd name="T33" fmla="*/ 323 h 396"/>
                <a:gd name="T34" fmla="*/ 359 w 444"/>
                <a:gd name="T35" fmla="*/ 396 h 396"/>
                <a:gd name="T36" fmla="*/ 444 w 444"/>
                <a:gd name="T37" fmla="*/ 222 h 396"/>
                <a:gd name="T38" fmla="*/ 222 w 444"/>
                <a:gd name="T39" fmla="*/ 0 h 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444" h="396">
                  <a:moveTo>
                    <a:pt x="222" y="0"/>
                  </a:moveTo>
                  <a:cubicBezTo>
                    <a:pt x="100" y="0"/>
                    <a:pt x="0" y="99"/>
                    <a:pt x="0" y="222"/>
                  </a:cubicBezTo>
                  <a:cubicBezTo>
                    <a:pt x="0" y="292"/>
                    <a:pt x="33" y="355"/>
                    <a:pt x="85" y="396"/>
                  </a:cubicBezTo>
                  <a:lnTo>
                    <a:pt x="85" y="323"/>
                  </a:lnTo>
                  <a:cubicBezTo>
                    <a:pt x="85" y="296"/>
                    <a:pt x="102" y="272"/>
                    <a:pt x="128" y="264"/>
                  </a:cubicBezTo>
                  <a:cubicBezTo>
                    <a:pt x="147" y="257"/>
                    <a:pt x="167" y="253"/>
                    <a:pt x="187" y="250"/>
                  </a:cubicBezTo>
                  <a:lnTo>
                    <a:pt x="188" y="250"/>
                  </a:lnTo>
                  <a:cubicBezTo>
                    <a:pt x="170" y="235"/>
                    <a:pt x="157" y="208"/>
                    <a:pt x="157" y="185"/>
                  </a:cubicBezTo>
                  <a:lnTo>
                    <a:pt x="157" y="171"/>
                  </a:lnTo>
                  <a:cubicBezTo>
                    <a:pt x="157" y="136"/>
                    <a:pt x="186" y="107"/>
                    <a:pt x="222" y="107"/>
                  </a:cubicBezTo>
                  <a:cubicBezTo>
                    <a:pt x="258" y="107"/>
                    <a:pt x="287" y="136"/>
                    <a:pt x="287" y="171"/>
                  </a:cubicBezTo>
                  <a:lnTo>
                    <a:pt x="287" y="185"/>
                  </a:lnTo>
                  <a:cubicBezTo>
                    <a:pt x="287" y="208"/>
                    <a:pt x="274" y="235"/>
                    <a:pt x="256" y="250"/>
                  </a:cubicBezTo>
                  <a:lnTo>
                    <a:pt x="257" y="250"/>
                  </a:lnTo>
                  <a:cubicBezTo>
                    <a:pt x="277" y="253"/>
                    <a:pt x="297" y="257"/>
                    <a:pt x="316" y="264"/>
                  </a:cubicBezTo>
                  <a:lnTo>
                    <a:pt x="316" y="264"/>
                  </a:lnTo>
                  <a:cubicBezTo>
                    <a:pt x="342" y="272"/>
                    <a:pt x="359" y="296"/>
                    <a:pt x="359" y="323"/>
                  </a:cubicBezTo>
                  <a:lnTo>
                    <a:pt x="359" y="396"/>
                  </a:lnTo>
                  <a:cubicBezTo>
                    <a:pt x="411" y="355"/>
                    <a:pt x="444" y="292"/>
                    <a:pt x="444" y="222"/>
                  </a:cubicBezTo>
                  <a:cubicBezTo>
                    <a:pt x="444" y="99"/>
                    <a:pt x="345" y="0"/>
                    <a:pt x="222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8" name="Freeform 386">
              <a:extLst>
                <a:ext uri="{FF2B5EF4-FFF2-40B4-BE49-F238E27FC236}">
                  <a16:creationId xmlns:a16="http://schemas.microsoft.com/office/drawing/2014/main" id="{30EBF0B9-D35A-4CA8-9E87-DD1AAF939EF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418388" y="4162426"/>
              <a:ext cx="368300" cy="368300"/>
            </a:xfrm>
            <a:custGeom>
              <a:avLst/>
              <a:gdLst>
                <a:gd name="T0" fmla="*/ 118 w 236"/>
                <a:gd name="T1" fmla="*/ 155 h 236"/>
                <a:gd name="T2" fmla="*/ 81 w 236"/>
                <a:gd name="T3" fmla="*/ 118 h 236"/>
                <a:gd name="T4" fmla="*/ 118 w 236"/>
                <a:gd name="T5" fmla="*/ 81 h 236"/>
                <a:gd name="T6" fmla="*/ 155 w 236"/>
                <a:gd name="T7" fmla="*/ 118 h 236"/>
                <a:gd name="T8" fmla="*/ 118 w 236"/>
                <a:gd name="T9" fmla="*/ 155 h 236"/>
                <a:gd name="T10" fmla="*/ 205 w 236"/>
                <a:gd name="T11" fmla="*/ 141 h 236"/>
                <a:gd name="T12" fmla="*/ 236 w 236"/>
                <a:gd name="T13" fmla="*/ 130 h 236"/>
                <a:gd name="T14" fmla="*/ 236 w 236"/>
                <a:gd name="T15" fmla="*/ 105 h 236"/>
                <a:gd name="T16" fmla="*/ 205 w 236"/>
                <a:gd name="T17" fmla="*/ 94 h 236"/>
                <a:gd name="T18" fmla="*/ 196 w 236"/>
                <a:gd name="T19" fmla="*/ 73 h 236"/>
                <a:gd name="T20" fmla="*/ 210 w 236"/>
                <a:gd name="T21" fmla="*/ 42 h 236"/>
                <a:gd name="T22" fmla="*/ 193 w 236"/>
                <a:gd name="T23" fmla="*/ 25 h 236"/>
                <a:gd name="T24" fmla="*/ 162 w 236"/>
                <a:gd name="T25" fmla="*/ 40 h 236"/>
                <a:gd name="T26" fmla="*/ 141 w 236"/>
                <a:gd name="T27" fmla="*/ 31 h 236"/>
                <a:gd name="T28" fmla="*/ 130 w 236"/>
                <a:gd name="T29" fmla="*/ 0 h 236"/>
                <a:gd name="T30" fmla="*/ 106 w 236"/>
                <a:gd name="T31" fmla="*/ 0 h 236"/>
                <a:gd name="T32" fmla="*/ 95 w 236"/>
                <a:gd name="T33" fmla="*/ 31 h 236"/>
                <a:gd name="T34" fmla="*/ 73 w 236"/>
                <a:gd name="T35" fmla="*/ 40 h 236"/>
                <a:gd name="T36" fmla="*/ 43 w 236"/>
                <a:gd name="T37" fmla="*/ 26 h 236"/>
                <a:gd name="T38" fmla="*/ 26 w 236"/>
                <a:gd name="T39" fmla="*/ 43 h 236"/>
                <a:gd name="T40" fmla="*/ 40 w 236"/>
                <a:gd name="T41" fmla="*/ 73 h 236"/>
                <a:gd name="T42" fmla="*/ 31 w 236"/>
                <a:gd name="T43" fmla="*/ 95 h 236"/>
                <a:gd name="T44" fmla="*/ 0 w 236"/>
                <a:gd name="T45" fmla="*/ 106 h 236"/>
                <a:gd name="T46" fmla="*/ 0 w 236"/>
                <a:gd name="T47" fmla="*/ 130 h 236"/>
                <a:gd name="T48" fmla="*/ 31 w 236"/>
                <a:gd name="T49" fmla="*/ 141 h 236"/>
                <a:gd name="T50" fmla="*/ 40 w 236"/>
                <a:gd name="T51" fmla="*/ 163 h 236"/>
                <a:gd name="T52" fmla="*/ 26 w 236"/>
                <a:gd name="T53" fmla="*/ 193 h 236"/>
                <a:gd name="T54" fmla="*/ 44 w 236"/>
                <a:gd name="T55" fmla="*/ 210 h 236"/>
                <a:gd name="T56" fmla="*/ 74 w 236"/>
                <a:gd name="T57" fmla="*/ 196 h 236"/>
                <a:gd name="T58" fmla="*/ 95 w 236"/>
                <a:gd name="T59" fmla="*/ 204 h 236"/>
                <a:gd name="T60" fmla="*/ 106 w 236"/>
                <a:gd name="T61" fmla="*/ 236 h 236"/>
                <a:gd name="T62" fmla="*/ 130 w 236"/>
                <a:gd name="T63" fmla="*/ 236 h 236"/>
                <a:gd name="T64" fmla="*/ 142 w 236"/>
                <a:gd name="T65" fmla="*/ 204 h 236"/>
                <a:gd name="T66" fmla="*/ 163 w 236"/>
                <a:gd name="T67" fmla="*/ 195 h 236"/>
                <a:gd name="T68" fmla="*/ 193 w 236"/>
                <a:gd name="T69" fmla="*/ 210 h 236"/>
                <a:gd name="T70" fmla="*/ 210 w 236"/>
                <a:gd name="T71" fmla="*/ 192 h 236"/>
                <a:gd name="T72" fmla="*/ 196 w 236"/>
                <a:gd name="T73" fmla="*/ 162 h 236"/>
                <a:gd name="T74" fmla="*/ 205 w 236"/>
                <a:gd name="T75" fmla="*/ 141 h 2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236" h="236">
                  <a:moveTo>
                    <a:pt x="118" y="155"/>
                  </a:moveTo>
                  <a:cubicBezTo>
                    <a:pt x="98" y="155"/>
                    <a:pt x="81" y="138"/>
                    <a:pt x="81" y="118"/>
                  </a:cubicBezTo>
                  <a:cubicBezTo>
                    <a:pt x="81" y="97"/>
                    <a:pt x="98" y="81"/>
                    <a:pt x="118" y="81"/>
                  </a:cubicBezTo>
                  <a:cubicBezTo>
                    <a:pt x="139" y="81"/>
                    <a:pt x="155" y="97"/>
                    <a:pt x="155" y="118"/>
                  </a:cubicBezTo>
                  <a:cubicBezTo>
                    <a:pt x="155" y="138"/>
                    <a:pt x="139" y="155"/>
                    <a:pt x="118" y="155"/>
                  </a:cubicBezTo>
                  <a:close/>
                  <a:moveTo>
                    <a:pt x="205" y="141"/>
                  </a:moveTo>
                  <a:lnTo>
                    <a:pt x="236" y="130"/>
                  </a:lnTo>
                  <a:lnTo>
                    <a:pt x="236" y="105"/>
                  </a:lnTo>
                  <a:lnTo>
                    <a:pt x="205" y="94"/>
                  </a:lnTo>
                  <a:cubicBezTo>
                    <a:pt x="203" y="86"/>
                    <a:pt x="200" y="79"/>
                    <a:pt x="196" y="73"/>
                  </a:cubicBezTo>
                  <a:lnTo>
                    <a:pt x="210" y="42"/>
                  </a:lnTo>
                  <a:lnTo>
                    <a:pt x="193" y="25"/>
                  </a:lnTo>
                  <a:lnTo>
                    <a:pt x="162" y="40"/>
                  </a:lnTo>
                  <a:cubicBezTo>
                    <a:pt x="156" y="36"/>
                    <a:pt x="149" y="33"/>
                    <a:pt x="141" y="31"/>
                  </a:cubicBezTo>
                  <a:lnTo>
                    <a:pt x="130" y="0"/>
                  </a:lnTo>
                  <a:lnTo>
                    <a:pt x="106" y="0"/>
                  </a:lnTo>
                  <a:lnTo>
                    <a:pt x="95" y="31"/>
                  </a:lnTo>
                  <a:cubicBezTo>
                    <a:pt x="87" y="33"/>
                    <a:pt x="80" y="36"/>
                    <a:pt x="73" y="40"/>
                  </a:cubicBezTo>
                  <a:lnTo>
                    <a:pt x="43" y="26"/>
                  </a:lnTo>
                  <a:lnTo>
                    <a:pt x="26" y="43"/>
                  </a:lnTo>
                  <a:lnTo>
                    <a:pt x="40" y="73"/>
                  </a:lnTo>
                  <a:cubicBezTo>
                    <a:pt x="36" y="80"/>
                    <a:pt x="33" y="87"/>
                    <a:pt x="31" y="95"/>
                  </a:cubicBezTo>
                  <a:lnTo>
                    <a:pt x="0" y="106"/>
                  </a:lnTo>
                  <a:lnTo>
                    <a:pt x="0" y="130"/>
                  </a:lnTo>
                  <a:lnTo>
                    <a:pt x="31" y="141"/>
                  </a:lnTo>
                  <a:cubicBezTo>
                    <a:pt x="34" y="149"/>
                    <a:pt x="37" y="156"/>
                    <a:pt x="40" y="163"/>
                  </a:cubicBezTo>
                  <a:lnTo>
                    <a:pt x="26" y="193"/>
                  </a:lnTo>
                  <a:lnTo>
                    <a:pt x="44" y="210"/>
                  </a:lnTo>
                  <a:lnTo>
                    <a:pt x="74" y="196"/>
                  </a:lnTo>
                  <a:cubicBezTo>
                    <a:pt x="80" y="200"/>
                    <a:pt x="88" y="202"/>
                    <a:pt x="95" y="204"/>
                  </a:cubicBezTo>
                  <a:lnTo>
                    <a:pt x="106" y="236"/>
                  </a:lnTo>
                  <a:lnTo>
                    <a:pt x="130" y="236"/>
                  </a:lnTo>
                  <a:lnTo>
                    <a:pt x="142" y="204"/>
                  </a:lnTo>
                  <a:cubicBezTo>
                    <a:pt x="149" y="202"/>
                    <a:pt x="156" y="199"/>
                    <a:pt x="163" y="195"/>
                  </a:cubicBezTo>
                  <a:lnTo>
                    <a:pt x="193" y="210"/>
                  </a:lnTo>
                  <a:lnTo>
                    <a:pt x="210" y="192"/>
                  </a:lnTo>
                  <a:lnTo>
                    <a:pt x="196" y="162"/>
                  </a:lnTo>
                  <a:cubicBezTo>
                    <a:pt x="200" y="156"/>
                    <a:pt x="203" y="148"/>
                    <a:pt x="205" y="141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401229479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23">
            <a:extLst>
              <a:ext uri="{FF2B5EF4-FFF2-40B4-BE49-F238E27FC236}">
                <a16:creationId xmlns:a16="http://schemas.microsoft.com/office/drawing/2014/main" id="{E26F0F57-0067-4863-8605-E1536DF7C8A8}"/>
              </a:ext>
            </a:extLst>
          </p:cNvPr>
          <p:cNvSpPr/>
          <p:nvPr/>
        </p:nvSpPr>
        <p:spPr>
          <a:xfrm>
            <a:off x="-16441" y="-1042"/>
            <a:ext cx="12208441" cy="685800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  <a:effectLst>
            <a:outerShdw blurRad="215900" dist="38100" sx="101000" sy="101000" algn="ctr" rotWithShape="0">
              <a:schemeClr val="tx1">
                <a:alpha val="3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F8ED2ED7-7F21-4307-A8BB-673C73246DBF}"/>
              </a:ext>
            </a:extLst>
          </p:cNvPr>
          <p:cNvSpPr/>
          <p:nvPr/>
        </p:nvSpPr>
        <p:spPr>
          <a:xfrm>
            <a:off x="10893442" y="2109477"/>
            <a:ext cx="1307939" cy="2592153"/>
          </a:xfrm>
          <a:custGeom>
            <a:avLst/>
            <a:gdLst>
              <a:gd name="connsiteX0" fmla="*/ 1307939 w 1307939"/>
              <a:gd name="connsiteY0" fmla="*/ 0 h 2592153"/>
              <a:gd name="connsiteX1" fmla="*/ 1307939 w 1307939"/>
              <a:gd name="connsiteY1" fmla="*/ 2592153 h 2592153"/>
              <a:gd name="connsiteX2" fmla="*/ 1179406 w 1307939"/>
              <a:gd name="connsiteY2" fmla="*/ 2585748 h 2592153"/>
              <a:gd name="connsiteX3" fmla="*/ 0 w 1307939"/>
              <a:gd name="connsiteY3" fmla="*/ 1296076 h 2592153"/>
              <a:gd name="connsiteX4" fmla="*/ 1179406 w 1307939"/>
              <a:gd name="connsiteY4" fmla="*/ 6404 h 25921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07939" h="2592153">
                <a:moveTo>
                  <a:pt x="1307939" y="0"/>
                </a:moveTo>
                <a:lnTo>
                  <a:pt x="1307939" y="2592153"/>
                </a:lnTo>
                <a:lnTo>
                  <a:pt x="1179406" y="2585748"/>
                </a:lnTo>
                <a:cubicBezTo>
                  <a:pt x="516952" y="2519361"/>
                  <a:pt x="0" y="1967292"/>
                  <a:pt x="0" y="1296076"/>
                </a:cubicBezTo>
                <a:cubicBezTo>
                  <a:pt x="0" y="624861"/>
                  <a:pt x="516952" y="72791"/>
                  <a:pt x="1179406" y="6404"/>
                </a:cubicBezTo>
                <a:close/>
              </a:path>
            </a:pathLst>
          </a:custGeom>
          <a:solidFill>
            <a:schemeClr val="bg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fr-FR"/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DF02CE79-BF3F-4FEC-9C20-0E6E700A81AC}"/>
              </a:ext>
            </a:extLst>
          </p:cNvPr>
          <p:cNvSpPr txBox="1"/>
          <p:nvPr/>
        </p:nvSpPr>
        <p:spPr>
          <a:xfrm>
            <a:off x="11701163" y="2426625"/>
            <a:ext cx="615553" cy="1957858"/>
          </a:xfrm>
          <a:prstGeom prst="rect">
            <a:avLst/>
          </a:prstGeom>
          <a:noFill/>
        </p:spPr>
        <p:txBody>
          <a:bodyPr vert="vert270" wrap="square" rtlCol="0">
            <a:spAutoFit/>
          </a:bodyPr>
          <a:lstStyle/>
          <a:p>
            <a:r>
              <a:rPr lang="lv-LV" sz="2800" dirty="0">
                <a:solidFill>
                  <a:schemeClr val="bg1"/>
                </a:solidFill>
                <a:latin typeface="Rockwell Extra Bold" panose="02060903040505020403" pitchFamily="18" charset="0"/>
              </a:rPr>
              <a:t>LESSONS</a:t>
            </a:r>
            <a:endParaRPr lang="fr-FR" sz="2800" dirty="0">
              <a:solidFill>
                <a:schemeClr val="bg1"/>
              </a:solidFill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5794BBF3-7BE5-4AD8-85EF-4B9CF62269C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94320" y="1227149"/>
            <a:ext cx="4317952" cy="3906927"/>
          </a:xfrm>
          <a:prstGeom prst="rect">
            <a:avLst/>
          </a:prstGeom>
          <a:ln w="12700" cap="sq">
            <a:solidFill>
              <a:schemeClr val="accent4">
                <a:lumMod val="50000"/>
              </a:schemeClr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F823308C-7F79-429C-B1C0-72EECEEC365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674633" y="299063"/>
            <a:ext cx="5073416" cy="2881550"/>
          </a:xfrm>
          <a:prstGeom prst="rect">
            <a:avLst/>
          </a:prstGeom>
          <a:ln w="12700" cap="sq">
            <a:solidFill>
              <a:schemeClr val="accent4">
                <a:lumMod val="50000"/>
              </a:schemeClr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  <p:sp>
        <p:nvSpPr>
          <p:cNvPr id="57" name="TextBox 56">
            <a:extLst>
              <a:ext uri="{FF2B5EF4-FFF2-40B4-BE49-F238E27FC236}">
                <a16:creationId xmlns:a16="http://schemas.microsoft.com/office/drawing/2014/main" id="{0A32D83F-34F5-4BF1-87C0-0F5B407D51D5}"/>
              </a:ext>
            </a:extLst>
          </p:cNvPr>
          <p:cNvSpPr txBox="1"/>
          <p:nvPr/>
        </p:nvSpPr>
        <p:spPr>
          <a:xfrm>
            <a:off x="974560" y="6275094"/>
            <a:ext cx="5559405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fr-FR" sz="1400" dirty="0">
                <a:latin typeface="Segoe UI Black" panose="020B0A02040204020203" pitchFamily="34" charset="0"/>
                <a:ea typeface="Segoe UI Black" panose="020B0A02040204020203" pitchFamily="34" charset="0"/>
              </a:rPr>
              <a:t>https://rodionafanasjevs.github.io/Lorem_Ipsum/index.html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9D913ED2-2BA7-4C11-99C2-80951C900D2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674633" y="3604010"/>
            <a:ext cx="5073416" cy="2555464"/>
          </a:xfrm>
          <a:prstGeom prst="rect">
            <a:avLst/>
          </a:prstGeom>
          <a:ln w="12700" cap="sq">
            <a:solidFill>
              <a:schemeClr val="accent4">
                <a:lumMod val="50000"/>
              </a:schemeClr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ABE061F2-7613-40A4-8A8B-1D5854A526A3}"/>
              </a:ext>
            </a:extLst>
          </p:cNvPr>
          <p:cNvSpPr/>
          <p:nvPr/>
        </p:nvSpPr>
        <p:spPr>
          <a:xfrm>
            <a:off x="1081093" y="252919"/>
            <a:ext cx="4331179" cy="720269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 cap="sq">
            <a:solidFill>
              <a:schemeClr val="accent4">
                <a:lumMod val="50000"/>
              </a:schemeClr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81CC819B-5BFB-4E3D-A29C-B5D98B34C63E}"/>
              </a:ext>
            </a:extLst>
          </p:cNvPr>
          <p:cNvSpPr/>
          <p:nvPr/>
        </p:nvSpPr>
        <p:spPr>
          <a:xfrm>
            <a:off x="1081092" y="5388037"/>
            <a:ext cx="4331179" cy="771437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 cap="sq">
            <a:solidFill>
              <a:schemeClr val="accent4">
                <a:lumMod val="50000"/>
              </a:schemeClr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4C84E376-C769-470A-ADC9-CB5FA075CDE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-11573498" y="-257437"/>
            <a:ext cx="12772378" cy="7370790"/>
          </a:xfrm>
          <a:prstGeom prst="rect">
            <a:avLst/>
          </a:prstGeom>
        </p:spPr>
      </p:pic>
      <p:pic>
        <p:nvPicPr>
          <p:cNvPr id="32" name="Picture 31">
            <a:extLst>
              <a:ext uri="{FF2B5EF4-FFF2-40B4-BE49-F238E27FC236}">
                <a16:creationId xmlns:a16="http://schemas.microsoft.com/office/drawing/2014/main" id="{477A3D34-96B2-45C5-BA35-FA845F9C9371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-11922553" y="-250306"/>
            <a:ext cx="12961013" cy="73636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215708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3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6.25E-7 1.48148E-6 L 0.897 -0.01158 " pathEditMode="relative" rAng="0" ptsTypes="AA">
                                      <p:cBhvr>
                                        <p:cTn id="6" dur="2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44844" y="-579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63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0455 -0.0081 L 0.89479 -0.00833 " pathEditMode="relative" rAng="0" ptsTypes="AA">
                                      <p:cBhvr>
                                        <p:cTn id="10" dur="20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44505" y="-23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ID_TEMPLATES" val="Animations_3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ID_TEMPLATES" val="Picture_with_icons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big data*analytics*analysis*cloud*AI*artificial intelligence*machine learnin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heme/theme1.xml><?xml version="1.0" encoding="utf-8"?>
<a:theme xmlns:a="http://schemas.openxmlformats.org/drawingml/2006/main" name="Office Theme">
  <a:themeElements>
    <a:clrScheme name="Grayscale">
      <a:dk1>
        <a:sysClr val="windowText" lastClr="000000"/>
      </a:dk1>
      <a:lt1>
        <a:sysClr val="window" lastClr="FFFFFF"/>
      </a:lt1>
      <a:dk2>
        <a:srgbClr val="000000"/>
      </a:dk2>
      <a:lt2>
        <a:srgbClr val="F8F8F8"/>
      </a:lt2>
      <a:accent1>
        <a:srgbClr val="DDDDDD"/>
      </a:accent1>
      <a:accent2>
        <a:srgbClr val="B2B2B2"/>
      </a:accent2>
      <a:accent3>
        <a:srgbClr val="969696"/>
      </a:accent3>
      <a:accent4>
        <a:srgbClr val="808080"/>
      </a:accent4>
      <a:accent5>
        <a:srgbClr val="5F5F5F"/>
      </a:accent5>
      <a:accent6>
        <a:srgbClr val="4D4D4D"/>
      </a:accent6>
      <a:hlink>
        <a:srgbClr val="5F5F5F"/>
      </a:hlink>
      <a:folHlink>
        <a:srgbClr val="919191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77</TotalTime>
  <Words>119</Words>
  <Application>Microsoft Office PowerPoint</Application>
  <PresentationFormat>Widescreen</PresentationFormat>
  <Paragraphs>13</Paragraphs>
  <Slides>3</Slides>
  <Notes>2</Notes>
  <HiddenSlides>0</HiddenSlides>
  <MMClips>1</MMClips>
  <ScaleCrop>false</ScaleCrop>
  <HeadingPairs>
    <vt:vector size="6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3</vt:i4>
      </vt:variant>
    </vt:vector>
  </HeadingPairs>
  <TitlesOfParts>
    <vt:vector size="9" baseType="lpstr">
      <vt:lpstr>Arial</vt:lpstr>
      <vt:lpstr>Calibri</vt:lpstr>
      <vt:lpstr>Calibri Light</vt:lpstr>
      <vt:lpstr>Rockwell Extra Bold</vt:lpstr>
      <vt:lpstr>Segoe UI Black</vt:lpstr>
      <vt:lpstr>Office Theme</vt:lpstr>
      <vt:lpstr>PowerPoint Presentation</vt:lpstr>
      <vt:lpstr>“Make it work,  make it right,  make it fast”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Родион Афанасьев</dc:creator>
  <cp:lastModifiedBy>Родион Афанасьев</cp:lastModifiedBy>
  <cp:revision>46</cp:revision>
  <dcterms:created xsi:type="dcterms:W3CDTF">2020-08-03T15:32:53Z</dcterms:created>
  <dcterms:modified xsi:type="dcterms:W3CDTF">2020-08-04T10:34:55Z</dcterms:modified>
</cp:coreProperties>
</file>